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1.xml" ContentType="application/vnd.openxmlformats-officedocument.presentationml.tags+xml"/>
  <Override PartName="/ppt/notesSlides/notesSlide8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64"/>
  </p:notesMasterIdLst>
  <p:sldIdLst>
    <p:sldId id="286" r:id="rId5"/>
    <p:sldId id="256" r:id="rId6"/>
    <p:sldId id="274" r:id="rId7"/>
    <p:sldId id="1511" r:id="rId8"/>
    <p:sldId id="258" r:id="rId9"/>
    <p:sldId id="279" r:id="rId10"/>
    <p:sldId id="287" r:id="rId11"/>
    <p:sldId id="288" r:id="rId12"/>
    <p:sldId id="290" r:id="rId13"/>
    <p:sldId id="300" r:id="rId14"/>
    <p:sldId id="301" r:id="rId15"/>
    <p:sldId id="305" r:id="rId16"/>
    <p:sldId id="1516" r:id="rId17"/>
    <p:sldId id="1519" r:id="rId18"/>
    <p:sldId id="302" r:id="rId19"/>
    <p:sldId id="303" r:id="rId20"/>
    <p:sldId id="304" r:id="rId21"/>
    <p:sldId id="306" r:id="rId22"/>
    <p:sldId id="1515" r:id="rId23"/>
    <p:sldId id="1520" r:id="rId24"/>
    <p:sldId id="293" r:id="rId25"/>
    <p:sldId id="307" r:id="rId26"/>
    <p:sldId id="1504" r:id="rId27"/>
    <p:sldId id="1506" r:id="rId28"/>
    <p:sldId id="1507" r:id="rId29"/>
    <p:sldId id="1510" r:id="rId30"/>
    <p:sldId id="1509" r:id="rId31"/>
    <p:sldId id="1512" r:id="rId32"/>
    <p:sldId id="1517" r:id="rId33"/>
    <p:sldId id="1518" r:id="rId34"/>
    <p:sldId id="294" r:id="rId35"/>
    <p:sldId id="321" r:id="rId36"/>
    <p:sldId id="320" r:id="rId37"/>
    <p:sldId id="319" r:id="rId38"/>
    <p:sldId id="1481" r:id="rId39"/>
    <p:sldId id="1486" r:id="rId40"/>
    <p:sldId id="1487" r:id="rId41"/>
    <p:sldId id="1488" r:id="rId42"/>
    <p:sldId id="1489" r:id="rId43"/>
    <p:sldId id="1490" r:id="rId44"/>
    <p:sldId id="1491" r:id="rId45"/>
    <p:sldId id="1514" r:id="rId46"/>
    <p:sldId id="291" r:id="rId47"/>
    <p:sldId id="1502" r:id="rId48"/>
    <p:sldId id="1496" r:id="rId49"/>
    <p:sldId id="1503" r:id="rId50"/>
    <p:sldId id="1498" r:id="rId51"/>
    <p:sldId id="317" r:id="rId52"/>
    <p:sldId id="322" r:id="rId53"/>
    <p:sldId id="318" r:id="rId54"/>
    <p:sldId id="1476" r:id="rId55"/>
    <p:sldId id="295" r:id="rId56"/>
    <p:sldId id="1497" r:id="rId57"/>
    <p:sldId id="1458" r:id="rId58"/>
    <p:sldId id="1463" r:id="rId59"/>
    <p:sldId id="296" r:id="rId60"/>
    <p:sldId id="299" r:id="rId61"/>
    <p:sldId id="298" r:id="rId62"/>
    <p:sldId id="267" r:id="rId63"/>
  </p:sldIdLst>
  <p:sldSz cx="12192000" cy="6858000"/>
  <p:notesSz cx="6858000" cy="9144000"/>
  <p:custDataLst>
    <p:tags r:id="rId6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peaker Sessions" id="{A4CA5440-4614-4F22-BA68-77BB4C6739D5}">
          <p14:sldIdLst/>
        </p14:section>
        <p14:section name="Power Summit Slides" id="{C5AFE659-7835-41C3-B1AB-F7CE31DA9D18}">
          <p14:sldIdLst>
            <p14:sldId id="286"/>
            <p14:sldId id="256"/>
            <p14:sldId id="274"/>
            <p14:sldId id="1511"/>
            <p14:sldId id="258"/>
          </p14:sldIdLst>
        </p14:section>
        <p14:section name="Templates" id="{7A46FA16-37E2-41B5-8FC3-7F86F14B514A}">
          <p14:sldIdLst>
            <p14:sldId id="279"/>
            <p14:sldId id="287"/>
            <p14:sldId id="288"/>
            <p14:sldId id="290"/>
            <p14:sldId id="300"/>
            <p14:sldId id="301"/>
            <p14:sldId id="305"/>
            <p14:sldId id="1516"/>
            <p14:sldId id="1519"/>
            <p14:sldId id="302"/>
            <p14:sldId id="303"/>
            <p14:sldId id="304"/>
            <p14:sldId id="306"/>
            <p14:sldId id="1515"/>
            <p14:sldId id="1520"/>
            <p14:sldId id="293"/>
            <p14:sldId id="307"/>
            <p14:sldId id="1504"/>
            <p14:sldId id="1506"/>
            <p14:sldId id="1507"/>
            <p14:sldId id="1510"/>
            <p14:sldId id="1509"/>
            <p14:sldId id="1512"/>
            <p14:sldId id="1517"/>
            <p14:sldId id="1518"/>
            <p14:sldId id="294"/>
            <p14:sldId id="321"/>
            <p14:sldId id="320"/>
            <p14:sldId id="319"/>
            <p14:sldId id="1481"/>
            <p14:sldId id="1486"/>
            <p14:sldId id="1487"/>
            <p14:sldId id="1488"/>
            <p14:sldId id="1489"/>
            <p14:sldId id="1490"/>
            <p14:sldId id="1491"/>
            <p14:sldId id="1514"/>
            <p14:sldId id="291"/>
            <p14:sldId id="1502"/>
            <p14:sldId id="1496"/>
            <p14:sldId id="1503"/>
            <p14:sldId id="1498"/>
            <p14:sldId id="317"/>
            <p14:sldId id="322"/>
            <p14:sldId id="318"/>
            <p14:sldId id="1476"/>
            <p14:sldId id="295"/>
            <p14:sldId id="1497"/>
            <p14:sldId id="1458"/>
            <p14:sldId id="1463"/>
            <p14:sldId id="296"/>
            <p14:sldId id="299"/>
            <p14:sldId id="298"/>
            <p14:sldId id="267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089D0"/>
    <a:srgbClr val="F5E467"/>
    <a:srgbClr val="980C0C"/>
    <a:srgbClr val="E41212"/>
    <a:srgbClr val="2C7CC4"/>
    <a:srgbClr val="B08E00"/>
    <a:srgbClr val="D01012"/>
    <a:srgbClr val="FFD100"/>
    <a:srgbClr val="00FE73"/>
    <a:srgbClr val="007CA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416A1-926B-4370-8AC8-5653BE786E1F}" v="80" dt="2025-02-24T22:19:47.346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012" autoAdjust="0"/>
    <p:restoredTop sz="94444" autoAdjust="0"/>
  </p:normalViewPr>
  <p:slideViewPr>
    <p:cSldViewPr snapToGrid="0" showGuides="1">
      <p:cViewPr varScale="1">
        <p:scale>
          <a:sx n="150" d="100"/>
          <a:sy n="150" d="100"/>
        </p:scale>
        <p:origin x="624" y="13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63" Type="http://schemas.openxmlformats.org/officeDocument/2006/relationships/slide" Target="slides/slide59.xml"/><Relationship Id="rId68" Type="http://schemas.openxmlformats.org/officeDocument/2006/relationships/theme" Target="theme/theme1.xml"/><Relationship Id="rId7" Type="http://schemas.openxmlformats.org/officeDocument/2006/relationships/slide" Target="slides/slide3.xml"/><Relationship Id="rId71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66" Type="http://schemas.openxmlformats.org/officeDocument/2006/relationships/presProps" Target="presProps.xml"/><Relationship Id="rId5" Type="http://schemas.openxmlformats.org/officeDocument/2006/relationships/slide" Target="slides/slide1.xml"/><Relationship Id="rId61" Type="http://schemas.openxmlformats.org/officeDocument/2006/relationships/slide" Target="slides/slide57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64" Type="http://schemas.openxmlformats.org/officeDocument/2006/relationships/notesMaster" Target="notesMasters/notesMaster1.xml"/><Relationship Id="rId69" Type="http://schemas.openxmlformats.org/officeDocument/2006/relationships/tableStyles" Target="tableStyles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slide" Target="slides/slide55.xml"/><Relationship Id="rId67" Type="http://schemas.openxmlformats.org/officeDocument/2006/relationships/viewProps" Target="viewProps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slide" Target="slides/slide58.xml"/><Relationship Id="rId70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slide" Target="slides/slide56.xml"/><Relationship Id="rId65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9" Type="http://schemas.openxmlformats.org/officeDocument/2006/relationships/slide" Target="slides/slide35.xml"/><Relationship Id="rId34" Type="http://schemas.openxmlformats.org/officeDocument/2006/relationships/slide" Target="slides/slide30.xml"/><Relationship Id="rId50" Type="http://schemas.openxmlformats.org/officeDocument/2006/relationships/slide" Target="slides/slide46.xml"/><Relationship Id="rId55" Type="http://schemas.openxmlformats.org/officeDocument/2006/relationships/slide" Target="slides/slide5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Nathan Clouse" userId="60190519-0423-46ec-ac65-f82d83ecfd9c" providerId="ADAL" clId="{CDA79BF1-4142-4140-BBB4-044FBFE6B49D}"/>
    <pc:docChg chg="undo custSel addSld delSld modSld sldOrd modSection">
      <pc:chgData name="Nathan Clouse" userId="60190519-0423-46ec-ac65-f82d83ecfd9c" providerId="ADAL" clId="{CDA79BF1-4142-4140-BBB4-044FBFE6B49D}" dt="2025-02-22T19:03:38.948" v="916" actId="1076"/>
      <pc:docMkLst>
        <pc:docMk/>
      </pc:docMkLst>
      <pc:sldChg chg="modSp mod">
        <pc:chgData name="Nathan Clouse" userId="60190519-0423-46ec-ac65-f82d83ecfd9c" providerId="ADAL" clId="{CDA79BF1-4142-4140-BBB4-044FBFE6B49D}" dt="2025-02-22T17:51:09.882" v="14" actId="1076"/>
        <pc:sldMkLst>
          <pc:docMk/>
          <pc:sldMk cId="2972571144" sldId="256"/>
        </pc:sldMkLst>
        <pc:spChg chg="mod">
          <ac:chgData name="Nathan Clouse" userId="60190519-0423-46ec-ac65-f82d83ecfd9c" providerId="ADAL" clId="{CDA79BF1-4142-4140-BBB4-044FBFE6B49D}" dt="2025-02-22T17:51:06.584" v="13" actId="1076"/>
          <ac:spMkLst>
            <pc:docMk/>
            <pc:sldMk cId="2972571144" sldId="256"/>
            <ac:spMk id="25" creationId="{30E317FD-66E5-4066-8B29-53DBDAD808F0}"/>
          </ac:spMkLst>
        </pc:spChg>
        <pc:spChg chg="mod">
          <ac:chgData name="Nathan Clouse" userId="60190519-0423-46ec-ac65-f82d83ecfd9c" providerId="ADAL" clId="{CDA79BF1-4142-4140-BBB4-044FBFE6B49D}" dt="2025-02-22T17:51:09.882" v="14" actId="1076"/>
          <ac:spMkLst>
            <pc:docMk/>
            <pc:sldMk cId="2972571144" sldId="256"/>
            <ac:spMk id="32" creationId="{2196B0D9-D472-45E7-B1FD-7389D45039D1}"/>
          </ac:spMkLst>
        </pc:spChg>
      </pc:sldChg>
      <pc:sldChg chg="modSp mod">
        <pc:chgData name="Nathan Clouse" userId="60190519-0423-46ec-ac65-f82d83ecfd9c" providerId="ADAL" clId="{CDA79BF1-4142-4140-BBB4-044FBFE6B49D}" dt="2025-02-22T18:08:59.696" v="227" actId="20577"/>
        <pc:sldMkLst>
          <pc:docMk/>
          <pc:sldMk cId="1490033260" sldId="279"/>
        </pc:sldMkLst>
        <pc:spChg chg="mod">
          <ac:chgData name="Nathan Clouse" userId="60190519-0423-46ec-ac65-f82d83ecfd9c" providerId="ADAL" clId="{CDA79BF1-4142-4140-BBB4-044FBFE6B49D}" dt="2025-02-22T17:52:16.774" v="34" actId="20577"/>
          <ac:spMkLst>
            <pc:docMk/>
            <pc:sldMk cId="1490033260" sldId="279"/>
            <ac:spMk id="17" creationId="{10A6EFB4-EB70-F5E7-71F2-602F7ADFAED0}"/>
          </ac:spMkLst>
        </pc:spChg>
      </pc:sldChg>
      <pc:sldChg chg="ord">
        <pc:chgData name="Nathan Clouse" userId="60190519-0423-46ec-ac65-f82d83ecfd9c" providerId="ADAL" clId="{CDA79BF1-4142-4140-BBB4-044FBFE6B49D}" dt="2025-02-22T17:51:13.571" v="16"/>
        <pc:sldMkLst>
          <pc:docMk/>
          <pc:sldMk cId="921482421" sldId="286"/>
        </pc:sldMkLst>
      </pc:sldChg>
      <pc:sldChg chg="modSp add mod">
        <pc:chgData name="Nathan Clouse" userId="60190519-0423-46ec-ac65-f82d83ecfd9c" providerId="ADAL" clId="{CDA79BF1-4142-4140-BBB4-044FBFE6B49D}" dt="2025-02-22T18:09:26.162" v="308" actId="20577"/>
        <pc:sldMkLst>
          <pc:docMk/>
          <pc:sldMk cId="753646042" sldId="287"/>
        </pc:sldMkLst>
        <pc:spChg chg="mod">
          <ac:chgData name="Nathan Clouse" userId="60190519-0423-46ec-ac65-f82d83ecfd9c" providerId="ADAL" clId="{CDA79BF1-4142-4140-BBB4-044FBFE6B49D}" dt="2025-02-22T18:09:26.162" v="308" actId="20577"/>
          <ac:spMkLst>
            <pc:docMk/>
            <pc:sldMk cId="753646042" sldId="287"/>
            <ac:spMk id="3" creationId="{3C6314F6-F76E-3AA6-DF55-C1F944E77579}"/>
          </ac:spMkLst>
        </pc:spChg>
        <pc:spChg chg="mod">
          <ac:chgData name="Nathan Clouse" userId="60190519-0423-46ec-ac65-f82d83ecfd9c" providerId="ADAL" clId="{CDA79BF1-4142-4140-BBB4-044FBFE6B49D}" dt="2025-02-22T17:52:28.214" v="49" actId="20577"/>
          <ac:spMkLst>
            <pc:docMk/>
            <pc:sldMk cId="753646042" sldId="287"/>
            <ac:spMk id="17" creationId="{C7D8440F-6F32-0456-61AA-787D74022BA5}"/>
          </ac:spMkLst>
        </pc:spChg>
      </pc:sldChg>
      <pc:sldChg chg="modSp add mod">
        <pc:chgData name="Nathan Clouse" userId="60190519-0423-46ec-ac65-f82d83ecfd9c" providerId="ADAL" clId="{CDA79BF1-4142-4140-BBB4-044FBFE6B49D}" dt="2025-02-22T18:17:19.147" v="583" actId="20577"/>
        <pc:sldMkLst>
          <pc:docMk/>
          <pc:sldMk cId="2671403542" sldId="288"/>
        </pc:sldMkLst>
        <pc:spChg chg="mod">
          <ac:chgData name="Nathan Clouse" userId="60190519-0423-46ec-ac65-f82d83ecfd9c" providerId="ADAL" clId="{CDA79BF1-4142-4140-BBB4-044FBFE6B49D}" dt="2025-02-22T18:17:19.147" v="583" actId="20577"/>
          <ac:spMkLst>
            <pc:docMk/>
            <pc:sldMk cId="2671403542" sldId="288"/>
            <ac:spMk id="3" creationId="{990F6552-97AA-BD1F-9B38-A5F5E6F8DA1A}"/>
          </ac:spMkLst>
        </pc:spChg>
        <pc:spChg chg="mod">
          <ac:chgData name="Nathan Clouse" userId="60190519-0423-46ec-ac65-f82d83ecfd9c" providerId="ADAL" clId="{CDA79BF1-4142-4140-BBB4-044FBFE6B49D}" dt="2025-02-22T17:52:47.406" v="77" actId="14100"/>
          <ac:spMkLst>
            <pc:docMk/>
            <pc:sldMk cId="2671403542" sldId="288"/>
            <ac:spMk id="17" creationId="{E8833A3F-EBA7-AC03-1563-8449230DC99A}"/>
          </ac:spMkLst>
        </pc:spChg>
      </pc:sldChg>
      <pc:sldChg chg="modSp add mod ord">
        <pc:chgData name="Nathan Clouse" userId="60190519-0423-46ec-ac65-f82d83ecfd9c" providerId="ADAL" clId="{CDA79BF1-4142-4140-BBB4-044FBFE6B49D}" dt="2025-02-22T17:56:53.968" v="132"/>
        <pc:sldMkLst>
          <pc:docMk/>
          <pc:sldMk cId="2161526678" sldId="289"/>
        </pc:sldMkLst>
      </pc:sldChg>
      <pc:sldChg chg="modSp add mod">
        <pc:chgData name="Nathan Clouse" userId="60190519-0423-46ec-ac65-f82d83ecfd9c" providerId="ADAL" clId="{CDA79BF1-4142-4140-BBB4-044FBFE6B49D}" dt="2025-02-22T18:19:23.644" v="603" actId="20577"/>
        <pc:sldMkLst>
          <pc:docMk/>
          <pc:sldMk cId="3758951815" sldId="290"/>
        </pc:sldMkLst>
        <pc:spChg chg="mod">
          <ac:chgData name="Nathan Clouse" userId="60190519-0423-46ec-ac65-f82d83ecfd9c" providerId="ADAL" clId="{CDA79BF1-4142-4140-BBB4-044FBFE6B49D}" dt="2025-02-22T18:18:55.687" v="592"/>
          <ac:spMkLst>
            <pc:docMk/>
            <pc:sldMk cId="3758951815" sldId="290"/>
            <ac:spMk id="3" creationId="{FE67676D-C524-2219-325F-E59D9CF6E241}"/>
          </ac:spMkLst>
        </pc:spChg>
        <pc:spChg chg="mod">
          <ac:chgData name="Nathan Clouse" userId="60190519-0423-46ec-ac65-f82d83ecfd9c" providerId="ADAL" clId="{CDA79BF1-4142-4140-BBB4-044FBFE6B49D}" dt="2025-02-22T18:19:23.644" v="603" actId="20577"/>
          <ac:spMkLst>
            <pc:docMk/>
            <pc:sldMk cId="3758951815" sldId="290"/>
            <ac:spMk id="17" creationId="{3B5B9009-4E59-938D-54D5-5B68F7AD027C}"/>
          </ac:spMkLst>
        </pc:spChg>
      </pc:sldChg>
      <pc:sldChg chg="modSp add mod">
        <pc:chgData name="Nathan Clouse" userId="60190519-0423-46ec-ac65-f82d83ecfd9c" providerId="ADAL" clId="{CDA79BF1-4142-4140-BBB4-044FBFE6B49D}" dt="2025-02-22T18:02:53.047" v="177" actId="20577"/>
        <pc:sldMkLst>
          <pc:docMk/>
          <pc:sldMk cId="797394224" sldId="291"/>
        </pc:sldMkLst>
        <pc:spChg chg="mod">
          <ac:chgData name="Nathan Clouse" userId="60190519-0423-46ec-ac65-f82d83ecfd9c" providerId="ADAL" clId="{CDA79BF1-4142-4140-BBB4-044FBFE6B49D}" dt="2025-02-22T18:02:53.047" v="177" actId="20577"/>
          <ac:spMkLst>
            <pc:docMk/>
            <pc:sldMk cId="797394224" sldId="291"/>
            <ac:spMk id="17" creationId="{2213452E-CCA7-5424-ACA6-FC686151977B}"/>
          </ac:spMkLst>
        </pc:spChg>
      </pc:sldChg>
      <pc:sldChg chg="modSp add mod">
        <pc:chgData name="Nathan Clouse" userId="60190519-0423-46ec-ac65-f82d83ecfd9c" providerId="ADAL" clId="{CDA79BF1-4142-4140-BBB4-044FBFE6B49D}" dt="2025-02-22T18:03:40.729" v="214" actId="20577"/>
        <pc:sldMkLst>
          <pc:docMk/>
          <pc:sldMk cId="2058293180" sldId="292"/>
        </pc:sldMkLst>
      </pc:sldChg>
      <pc:sldChg chg="modSp add mod modNotesTx">
        <pc:chgData name="Nathan Clouse" userId="60190519-0423-46ec-ac65-f82d83ecfd9c" providerId="ADAL" clId="{CDA79BF1-4142-4140-BBB4-044FBFE6B49D}" dt="2025-02-22T18:53:21.008" v="844" actId="20577"/>
        <pc:sldMkLst>
          <pc:docMk/>
          <pc:sldMk cId="1120303636" sldId="293"/>
        </pc:sldMkLst>
        <pc:spChg chg="mod">
          <ac:chgData name="Nathan Clouse" userId="60190519-0423-46ec-ac65-f82d83ecfd9c" providerId="ADAL" clId="{CDA79BF1-4142-4140-BBB4-044FBFE6B49D}" dt="2025-02-22T18:52:27.961" v="842" actId="403"/>
          <ac:spMkLst>
            <pc:docMk/>
            <pc:sldMk cId="1120303636" sldId="293"/>
            <ac:spMk id="3" creationId="{365E0044-E1FC-0892-8E8D-09A63C7A8A43}"/>
          </ac:spMkLst>
        </pc:spChg>
        <pc:spChg chg="mod">
          <ac:chgData name="Nathan Clouse" userId="60190519-0423-46ec-ac65-f82d83ecfd9c" providerId="ADAL" clId="{CDA79BF1-4142-4140-BBB4-044FBFE6B49D}" dt="2025-02-22T18:48:58.883" v="720" actId="14100"/>
          <ac:spMkLst>
            <pc:docMk/>
            <pc:sldMk cId="1120303636" sldId="293"/>
            <ac:spMk id="17" creationId="{69B91CD6-8383-0DE8-7237-9353E74C51BF}"/>
          </ac:spMkLst>
        </pc:spChg>
      </pc:sldChg>
      <pc:sldChg chg="new del">
        <pc:chgData name="Nathan Clouse" userId="60190519-0423-46ec-ac65-f82d83ecfd9c" providerId="ADAL" clId="{CDA79BF1-4142-4140-BBB4-044FBFE6B49D}" dt="2025-02-22T18:00:57.731" v="139" actId="680"/>
        <pc:sldMkLst>
          <pc:docMk/>
          <pc:sldMk cId="391583565" sldId="294"/>
        </pc:sldMkLst>
      </pc:sldChg>
      <pc:sldChg chg="modSp add mod">
        <pc:chgData name="Nathan Clouse" userId="60190519-0423-46ec-ac65-f82d83ecfd9c" providerId="ADAL" clId="{CDA79BF1-4142-4140-BBB4-044FBFE6B49D}" dt="2025-02-22T18:01:08.087" v="155" actId="20577"/>
        <pc:sldMkLst>
          <pc:docMk/>
          <pc:sldMk cId="3474591398" sldId="294"/>
        </pc:sldMkLst>
        <pc:spChg chg="mod">
          <ac:chgData name="Nathan Clouse" userId="60190519-0423-46ec-ac65-f82d83ecfd9c" providerId="ADAL" clId="{CDA79BF1-4142-4140-BBB4-044FBFE6B49D}" dt="2025-02-22T18:01:08.087" v="155" actId="20577"/>
          <ac:spMkLst>
            <pc:docMk/>
            <pc:sldMk cId="3474591398" sldId="294"/>
            <ac:spMk id="17" creationId="{DF7E9924-051A-9621-DB09-EA6DB0F06CB2}"/>
          </ac:spMkLst>
        </pc:spChg>
      </pc:sldChg>
      <pc:sldChg chg="add">
        <pc:chgData name="Nathan Clouse" userId="60190519-0423-46ec-ac65-f82d83ecfd9c" providerId="ADAL" clId="{CDA79BF1-4142-4140-BBB4-044FBFE6B49D}" dt="2025-02-22T18:02:56.093" v="178"/>
        <pc:sldMkLst>
          <pc:docMk/>
          <pc:sldMk cId="2864337492" sldId="295"/>
        </pc:sldMkLst>
      </pc:sldChg>
      <pc:sldChg chg="add">
        <pc:chgData name="Nathan Clouse" userId="60190519-0423-46ec-ac65-f82d83ecfd9c" providerId="ADAL" clId="{CDA79BF1-4142-4140-BBB4-044FBFE6B49D}" dt="2025-02-22T18:02:56.303" v="179"/>
        <pc:sldMkLst>
          <pc:docMk/>
          <pc:sldMk cId="1188291355" sldId="296"/>
        </pc:sldMkLst>
      </pc:sldChg>
      <pc:sldChg chg="add">
        <pc:chgData name="Nathan Clouse" userId="60190519-0423-46ec-ac65-f82d83ecfd9c" providerId="ADAL" clId="{CDA79BF1-4142-4140-BBB4-044FBFE6B49D}" dt="2025-02-22T18:02:56.511" v="180"/>
        <pc:sldMkLst>
          <pc:docMk/>
          <pc:sldMk cId="3629184929" sldId="297"/>
        </pc:sldMkLst>
      </pc:sldChg>
      <pc:sldChg chg="add">
        <pc:chgData name="Nathan Clouse" userId="60190519-0423-46ec-ac65-f82d83ecfd9c" providerId="ADAL" clId="{CDA79BF1-4142-4140-BBB4-044FBFE6B49D}" dt="2025-02-22T18:02:56.685" v="181"/>
        <pc:sldMkLst>
          <pc:docMk/>
          <pc:sldMk cId="3828808348" sldId="298"/>
        </pc:sldMkLst>
      </pc:sldChg>
      <pc:sldChg chg="add">
        <pc:chgData name="Nathan Clouse" userId="60190519-0423-46ec-ac65-f82d83ecfd9c" providerId="ADAL" clId="{CDA79BF1-4142-4140-BBB4-044FBFE6B49D}" dt="2025-02-22T18:02:56.852" v="182"/>
        <pc:sldMkLst>
          <pc:docMk/>
          <pc:sldMk cId="1607221082" sldId="299"/>
        </pc:sldMkLst>
      </pc:sldChg>
      <pc:sldChg chg="modSp add mod">
        <pc:chgData name="Nathan Clouse" userId="60190519-0423-46ec-ac65-f82d83ecfd9c" providerId="ADAL" clId="{CDA79BF1-4142-4140-BBB4-044FBFE6B49D}" dt="2025-02-22T18:20:09.743" v="612"/>
        <pc:sldMkLst>
          <pc:docMk/>
          <pc:sldMk cId="2660967253" sldId="300"/>
        </pc:sldMkLst>
        <pc:spChg chg="mod">
          <ac:chgData name="Nathan Clouse" userId="60190519-0423-46ec-ac65-f82d83ecfd9c" providerId="ADAL" clId="{CDA79BF1-4142-4140-BBB4-044FBFE6B49D}" dt="2025-02-22T18:20:09.743" v="612"/>
          <ac:spMkLst>
            <pc:docMk/>
            <pc:sldMk cId="2660967253" sldId="300"/>
            <ac:spMk id="3" creationId="{A45E1108-C083-B110-6A6C-610620F89F8B}"/>
          </ac:spMkLst>
        </pc:spChg>
        <pc:spChg chg="mod">
          <ac:chgData name="Nathan Clouse" userId="60190519-0423-46ec-ac65-f82d83ecfd9c" providerId="ADAL" clId="{CDA79BF1-4142-4140-BBB4-044FBFE6B49D}" dt="2025-02-22T18:19:36.627" v="611" actId="20577"/>
          <ac:spMkLst>
            <pc:docMk/>
            <pc:sldMk cId="2660967253" sldId="300"/>
            <ac:spMk id="17" creationId="{C695AA46-55C3-070A-6A4F-59CA4D0B9196}"/>
          </ac:spMkLst>
        </pc:spChg>
      </pc:sldChg>
      <pc:sldChg chg="modSp add mod">
        <pc:chgData name="Nathan Clouse" userId="60190519-0423-46ec-ac65-f82d83ecfd9c" providerId="ADAL" clId="{CDA79BF1-4142-4140-BBB4-044FBFE6B49D}" dt="2025-02-22T18:22:16.176" v="627" actId="27636"/>
        <pc:sldMkLst>
          <pc:docMk/>
          <pc:sldMk cId="4217835285" sldId="301"/>
        </pc:sldMkLst>
        <pc:spChg chg="mod">
          <ac:chgData name="Nathan Clouse" userId="60190519-0423-46ec-ac65-f82d83ecfd9c" providerId="ADAL" clId="{CDA79BF1-4142-4140-BBB4-044FBFE6B49D}" dt="2025-02-22T18:22:16.176" v="627" actId="27636"/>
          <ac:spMkLst>
            <pc:docMk/>
            <pc:sldMk cId="4217835285" sldId="301"/>
            <ac:spMk id="3" creationId="{6FF042CD-D74B-57C6-4C4A-FB0BB0766CD5}"/>
          </ac:spMkLst>
        </pc:spChg>
        <pc:spChg chg="mod">
          <ac:chgData name="Nathan Clouse" userId="60190519-0423-46ec-ac65-f82d83ecfd9c" providerId="ADAL" clId="{CDA79BF1-4142-4140-BBB4-044FBFE6B49D}" dt="2025-02-22T18:20:43.147" v="619" actId="20577"/>
          <ac:spMkLst>
            <pc:docMk/>
            <pc:sldMk cId="4217835285" sldId="301"/>
            <ac:spMk id="17" creationId="{6D17DC05-C0F9-068A-8B1D-9778D133B98D}"/>
          </ac:spMkLst>
        </pc:spChg>
      </pc:sldChg>
      <pc:sldChg chg="modSp add mod">
        <pc:chgData name="Nathan Clouse" userId="60190519-0423-46ec-ac65-f82d83ecfd9c" providerId="ADAL" clId="{CDA79BF1-4142-4140-BBB4-044FBFE6B49D}" dt="2025-02-22T18:26:06.298" v="648"/>
        <pc:sldMkLst>
          <pc:docMk/>
          <pc:sldMk cId="3855138861" sldId="302"/>
        </pc:sldMkLst>
        <pc:spChg chg="mod">
          <ac:chgData name="Nathan Clouse" userId="60190519-0423-46ec-ac65-f82d83ecfd9c" providerId="ADAL" clId="{CDA79BF1-4142-4140-BBB4-044FBFE6B49D}" dt="2025-02-22T18:26:06.298" v="648"/>
          <ac:spMkLst>
            <pc:docMk/>
            <pc:sldMk cId="3855138861" sldId="302"/>
            <ac:spMk id="3" creationId="{8C11E907-EBDC-4C07-5C2D-F323839BB6A9}"/>
          </ac:spMkLst>
        </pc:spChg>
        <pc:spChg chg="mod">
          <ac:chgData name="Nathan Clouse" userId="60190519-0423-46ec-ac65-f82d83ecfd9c" providerId="ADAL" clId="{CDA79BF1-4142-4140-BBB4-044FBFE6B49D}" dt="2025-02-22T18:23:45.689" v="635" actId="14100"/>
          <ac:spMkLst>
            <pc:docMk/>
            <pc:sldMk cId="3855138861" sldId="302"/>
            <ac:spMk id="17" creationId="{786612B2-20D6-DBB1-FA80-F8901024E602}"/>
          </ac:spMkLst>
        </pc:spChg>
      </pc:sldChg>
      <pc:sldChg chg="modSp add mod">
        <pc:chgData name="Nathan Clouse" userId="60190519-0423-46ec-ac65-f82d83ecfd9c" providerId="ADAL" clId="{CDA79BF1-4142-4140-BBB4-044FBFE6B49D}" dt="2025-02-22T18:26:46.489" v="649"/>
        <pc:sldMkLst>
          <pc:docMk/>
          <pc:sldMk cId="2128855356" sldId="303"/>
        </pc:sldMkLst>
        <pc:spChg chg="mod">
          <ac:chgData name="Nathan Clouse" userId="60190519-0423-46ec-ac65-f82d83ecfd9c" providerId="ADAL" clId="{CDA79BF1-4142-4140-BBB4-044FBFE6B49D}" dt="2025-02-22T18:26:46.489" v="649"/>
          <ac:spMkLst>
            <pc:docMk/>
            <pc:sldMk cId="2128855356" sldId="303"/>
            <ac:spMk id="3" creationId="{D24B4CDD-AE97-D3A4-3AC6-0613BD59399D}"/>
          </ac:spMkLst>
        </pc:spChg>
        <pc:spChg chg="mod">
          <ac:chgData name="Nathan Clouse" userId="60190519-0423-46ec-ac65-f82d83ecfd9c" providerId="ADAL" clId="{CDA79BF1-4142-4140-BBB4-044FBFE6B49D}" dt="2025-02-22T18:23:50.683" v="641" actId="20577"/>
          <ac:spMkLst>
            <pc:docMk/>
            <pc:sldMk cId="2128855356" sldId="303"/>
            <ac:spMk id="17" creationId="{DBC92EEF-664E-D102-E87B-6E14A8835C37}"/>
          </ac:spMkLst>
        </pc:spChg>
      </pc:sldChg>
      <pc:sldChg chg="modSp add mod">
        <pc:chgData name="Nathan Clouse" userId="60190519-0423-46ec-ac65-f82d83ecfd9c" providerId="ADAL" clId="{CDA79BF1-4142-4140-BBB4-044FBFE6B49D}" dt="2025-02-22T18:34:00.560" v="675" actId="20577"/>
        <pc:sldMkLst>
          <pc:docMk/>
          <pc:sldMk cId="1123986923" sldId="304"/>
        </pc:sldMkLst>
        <pc:spChg chg="mod">
          <ac:chgData name="Nathan Clouse" userId="60190519-0423-46ec-ac65-f82d83ecfd9c" providerId="ADAL" clId="{CDA79BF1-4142-4140-BBB4-044FBFE6B49D}" dt="2025-02-22T18:34:00.560" v="675" actId="20577"/>
          <ac:spMkLst>
            <pc:docMk/>
            <pc:sldMk cId="1123986923" sldId="304"/>
            <ac:spMk id="3" creationId="{A8C3195F-F5C3-F442-60DC-DD8F11A42B7A}"/>
          </ac:spMkLst>
        </pc:spChg>
        <pc:spChg chg="mod">
          <ac:chgData name="Nathan Clouse" userId="60190519-0423-46ec-ac65-f82d83ecfd9c" providerId="ADAL" clId="{CDA79BF1-4142-4140-BBB4-044FBFE6B49D}" dt="2025-02-22T18:23:54.460" v="647" actId="20577"/>
          <ac:spMkLst>
            <pc:docMk/>
            <pc:sldMk cId="1123986923" sldId="304"/>
            <ac:spMk id="17" creationId="{1CB95488-49A7-8EA1-086C-6A98A4AEC2B8}"/>
          </ac:spMkLst>
        </pc:spChg>
      </pc:sldChg>
      <pc:sldChg chg="addSp modSp add mod">
        <pc:chgData name="Nathan Clouse" userId="60190519-0423-46ec-ac65-f82d83ecfd9c" providerId="ADAL" clId="{CDA79BF1-4142-4140-BBB4-044FBFE6B49D}" dt="2025-02-22T18:31:15.939" v="662" actId="27636"/>
        <pc:sldMkLst>
          <pc:docMk/>
          <pc:sldMk cId="3793443136" sldId="305"/>
        </pc:sldMkLst>
        <pc:spChg chg="mod">
          <ac:chgData name="Nathan Clouse" userId="60190519-0423-46ec-ac65-f82d83ecfd9c" providerId="ADAL" clId="{CDA79BF1-4142-4140-BBB4-044FBFE6B49D}" dt="2025-02-22T18:31:15.939" v="662" actId="27636"/>
          <ac:spMkLst>
            <pc:docMk/>
            <pc:sldMk cId="3793443136" sldId="305"/>
            <ac:spMk id="3" creationId="{F33BF792-6035-AABE-11F9-5A6DB06CD462}"/>
          </ac:spMkLst>
        </pc:spChg>
        <pc:spChg chg="mod">
          <ac:chgData name="Nathan Clouse" userId="60190519-0423-46ec-ac65-f82d83ecfd9c" providerId="ADAL" clId="{CDA79BF1-4142-4140-BBB4-044FBFE6B49D}" dt="2025-02-22T18:28:46.669" v="654" actId="20577"/>
          <ac:spMkLst>
            <pc:docMk/>
            <pc:sldMk cId="3793443136" sldId="305"/>
            <ac:spMk id="17" creationId="{92539E31-B464-8E15-5CC1-44552763443F}"/>
          </ac:spMkLst>
        </pc:spChg>
        <pc:picChg chg="add mod">
          <ac:chgData name="Nathan Clouse" userId="60190519-0423-46ec-ac65-f82d83ecfd9c" providerId="ADAL" clId="{CDA79BF1-4142-4140-BBB4-044FBFE6B49D}" dt="2025-02-22T18:29:10.840" v="657" actId="1076"/>
          <ac:picMkLst>
            <pc:docMk/>
            <pc:sldMk cId="3793443136" sldId="305"/>
            <ac:picMk id="1026" creationId="{E35C7511-AF70-FA77-D192-3D5748B01B62}"/>
          </ac:picMkLst>
        </pc:picChg>
      </pc:sldChg>
      <pc:sldChg chg="addSp modSp add mod">
        <pc:chgData name="Nathan Clouse" userId="60190519-0423-46ec-ac65-f82d83ecfd9c" providerId="ADAL" clId="{CDA79BF1-4142-4140-BBB4-044FBFE6B49D}" dt="2025-02-22T18:43:12.578" v="686" actId="1076"/>
        <pc:sldMkLst>
          <pc:docMk/>
          <pc:sldMk cId="3358528950" sldId="306"/>
        </pc:sldMkLst>
        <pc:spChg chg="mod">
          <ac:chgData name="Nathan Clouse" userId="60190519-0423-46ec-ac65-f82d83ecfd9c" providerId="ADAL" clId="{CDA79BF1-4142-4140-BBB4-044FBFE6B49D}" dt="2025-02-22T18:43:02.843" v="684" actId="27636"/>
          <ac:spMkLst>
            <pc:docMk/>
            <pc:sldMk cId="3358528950" sldId="306"/>
            <ac:spMk id="3" creationId="{A21C0D83-E0AB-2E04-0AA0-1A2BEC20FB79}"/>
          </ac:spMkLst>
        </pc:spChg>
        <pc:spChg chg="mod">
          <ac:chgData name="Nathan Clouse" userId="60190519-0423-46ec-ac65-f82d83ecfd9c" providerId="ADAL" clId="{CDA79BF1-4142-4140-BBB4-044FBFE6B49D}" dt="2025-02-22T18:42:59.844" v="681" actId="20577"/>
          <ac:spMkLst>
            <pc:docMk/>
            <pc:sldMk cId="3358528950" sldId="306"/>
            <ac:spMk id="17" creationId="{0AF95BFE-2D96-AF5A-2151-E98C9808052D}"/>
          </ac:spMkLst>
        </pc:spChg>
        <pc:picChg chg="add mod">
          <ac:chgData name="Nathan Clouse" userId="60190519-0423-46ec-ac65-f82d83ecfd9c" providerId="ADAL" clId="{CDA79BF1-4142-4140-BBB4-044FBFE6B49D}" dt="2025-02-22T18:43:12.578" v="686" actId="1076"/>
          <ac:picMkLst>
            <pc:docMk/>
            <pc:sldMk cId="3358528950" sldId="306"/>
            <ac:picMk id="5" creationId="{20BB430A-EB47-EF11-0CD2-C70BAF7A3D3F}"/>
          </ac:picMkLst>
        </pc:picChg>
      </pc:sldChg>
      <pc:sldChg chg="addSp delSp modSp add mod">
        <pc:chgData name="Nathan Clouse" userId="60190519-0423-46ec-ac65-f82d83ecfd9c" providerId="ADAL" clId="{CDA79BF1-4142-4140-BBB4-044FBFE6B49D}" dt="2025-02-22T18:57:29.167" v="862"/>
        <pc:sldMkLst>
          <pc:docMk/>
          <pc:sldMk cId="2529131152" sldId="307"/>
        </pc:sldMkLst>
        <pc:spChg chg="mod">
          <ac:chgData name="Nathan Clouse" userId="60190519-0423-46ec-ac65-f82d83ecfd9c" providerId="ADAL" clId="{CDA79BF1-4142-4140-BBB4-044FBFE6B49D}" dt="2025-02-22T18:56:50.417" v="860" actId="20577"/>
          <ac:spMkLst>
            <pc:docMk/>
            <pc:sldMk cId="2529131152" sldId="307"/>
            <ac:spMk id="17" creationId="{07267352-E70B-3046-4ECE-490851B54B34}"/>
          </ac:spMkLst>
        </pc:spChg>
        <pc:picChg chg="add mod">
          <ac:chgData name="Nathan Clouse" userId="60190519-0423-46ec-ac65-f82d83ecfd9c" providerId="ADAL" clId="{CDA79BF1-4142-4140-BBB4-044FBFE6B49D}" dt="2025-02-22T18:57:29.167" v="862"/>
          <ac:picMkLst>
            <pc:docMk/>
            <pc:sldMk cId="2529131152" sldId="307"/>
            <ac:picMk id="5" creationId="{8A1A2F67-1A18-0FD4-7E0C-7CDB670FB7A0}"/>
          </ac:picMkLst>
        </pc:picChg>
      </pc:sldChg>
      <pc:sldChg chg="new del">
        <pc:chgData name="Nathan Clouse" userId="60190519-0423-46ec-ac65-f82d83ecfd9c" providerId="ADAL" clId="{CDA79BF1-4142-4140-BBB4-044FBFE6B49D}" dt="2025-02-22T18:53:26.777" v="846" actId="680"/>
        <pc:sldMkLst>
          <pc:docMk/>
          <pc:sldMk cId="4224974973" sldId="307"/>
        </pc:sldMkLst>
      </pc:sldChg>
      <pc:sldChg chg="add modTransition modAnim">
        <pc:chgData name="Nathan Clouse" userId="60190519-0423-46ec-ac65-f82d83ecfd9c" providerId="ADAL" clId="{CDA79BF1-4142-4140-BBB4-044FBFE6B49D}" dt="2025-02-22T18:57:45.899" v="864"/>
        <pc:sldMkLst>
          <pc:docMk/>
          <pc:sldMk cId="1445263055" sldId="1504"/>
        </pc:sldMkLst>
      </pc:sldChg>
      <pc:sldChg chg="new del">
        <pc:chgData name="Nathan Clouse" userId="60190519-0423-46ec-ac65-f82d83ecfd9c" providerId="ADAL" clId="{CDA79BF1-4142-4140-BBB4-044FBFE6B49D}" dt="2025-02-22T19:02:14.436" v="869" actId="47"/>
        <pc:sldMkLst>
          <pc:docMk/>
          <pc:sldMk cId="3409574003" sldId="1505"/>
        </pc:sldMkLst>
      </pc:sldChg>
      <pc:sldChg chg="addSp delSp modSp add mod ord">
        <pc:chgData name="Nathan Clouse" userId="60190519-0423-46ec-ac65-f82d83ecfd9c" providerId="ADAL" clId="{CDA79BF1-4142-4140-BBB4-044FBFE6B49D}" dt="2025-02-22T19:03:38.948" v="916" actId="1076"/>
        <pc:sldMkLst>
          <pc:docMk/>
          <pc:sldMk cId="2477918148" sldId="1506"/>
        </pc:sldMkLst>
        <pc:spChg chg="add mod">
          <ac:chgData name="Nathan Clouse" userId="60190519-0423-46ec-ac65-f82d83ecfd9c" providerId="ADAL" clId="{CDA79BF1-4142-4140-BBB4-044FBFE6B49D}" dt="2025-02-22T19:03:38.948" v="916" actId="1076"/>
          <ac:spMkLst>
            <pc:docMk/>
            <pc:sldMk cId="2477918148" sldId="1506"/>
            <ac:spMk id="3" creationId="{36CF56B2-3C74-5C03-593E-031B3103C32E}"/>
          </ac:spMkLst>
        </pc:spChg>
        <pc:spChg chg="mod">
          <ac:chgData name="Nathan Clouse" userId="60190519-0423-46ec-ac65-f82d83ecfd9c" providerId="ADAL" clId="{CDA79BF1-4142-4140-BBB4-044FBFE6B49D}" dt="2025-02-22T19:02:49.360" v="912" actId="404"/>
          <ac:spMkLst>
            <pc:docMk/>
            <pc:sldMk cId="2477918148" sldId="1506"/>
            <ac:spMk id="17" creationId="{E22DD005-5417-7297-56B7-BABAC76553FF}"/>
          </ac:spMkLst>
        </pc:spChg>
      </pc:sldChg>
    </pc:docChg>
  </pc:docChgLst>
  <pc:docChgLst>
    <pc:chgData name="Nathan Clouse" userId="60190519-0423-46ec-ac65-f82d83ecfd9c" providerId="ADAL" clId="{BAA416A1-926B-4370-8AC8-5653BE786E1F}"/>
    <pc:docChg chg="undo custSel addSld delSld modSld sldOrd modSection">
      <pc:chgData name="Nathan Clouse" userId="60190519-0423-46ec-ac65-f82d83ecfd9c" providerId="ADAL" clId="{BAA416A1-926B-4370-8AC8-5653BE786E1F}" dt="2025-02-26T21:42:42.519" v="1828" actId="1076"/>
      <pc:docMkLst>
        <pc:docMk/>
      </pc:docMkLst>
      <pc:sldChg chg="del">
        <pc:chgData name="Nathan Clouse" userId="60190519-0423-46ec-ac65-f82d83ecfd9c" providerId="ADAL" clId="{BAA416A1-926B-4370-8AC8-5653BE786E1F}" dt="2025-02-23T00:42:44.077" v="1710" actId="47"/>
        <pc:sldMkLst>
          <pc:docMk/>
          <pc:sldMk cId="3172724073" sldId="257"/>
        </pc:sldMkLst>
      </pc:sldChg>
      <pc:sldChg chg="modSp mod ord">
        <pc:chgData name="Nathan Clouse" userId="60190519-0423-46ec-ac65-f82d83ecfd9c" providerId="ADAL" clId="{BAA416A1-926B-4370-8AC8-5653BE786E1F}" dt="2025-02-24T22:29:06.441" v="1824" actId="403"/>
        <pc:sldMkLst>
          <pc:docMk/>
          <pc:sldMk cId="22665761" sldId="258"/>
        </pc:sldMkLst>
        <pc:spChg chg="mod">
          <ac:chgData name="Nathan Clouse" userId="60190519-0423-46ec-ac65-f82d83ecfd9c" providerId="ADAL" clId="{BAA416A1-926B-4370-8AC8-5653BE786E1F}" dt="2025-02-24T22:27:55.016" v="1753" actId="20577"/>
          <ac:spMkLst>
            <pc:docMk/>
            <pc:sldMk cId="22665761" sldId="258"/>
            <ac:spMk id="29" creationId="{1703243E-44E4-457F-80BE-7AA8096FA079}"/>
          </ac:spMkLst>
        </pc:spChg>
        <pc:spChg chg="mod">
          <ac:chgData name="Nathan Clouse" userId="60190519-0423-46ec-ac65-f82d83ecfd9c" providerId="ADAL" clId="{BAA416A1-926B-4370-8AC8-5653BE786E1F}" dt="2025-02-24T22:28:34.567" v="1818" actId="1076"/>
          <ac:spMkLst>
            <pc:docMk/>
            <pc:sldMk cId="22665761" sldId="258"/>
            <ac:spMk id="43" creationId="{EEA6B409-1179-47CA-903C-EDA2E45A466C}"/>
          </ac:spMkLst>
        </pc:spChg>
        <pc:spChg chg="mod">
          <ac:chgData name="Nathan Clouse" userId="60190519-0423-46ec-ac65-f82d83ecfd9c" providerId="ADAL" clId="{BAA416A1-926B-4370-8AC8-5653BE786E1F}" dt="2025-02-24T22:27:47.609" v="1741" actId="20577"/>
          <ac:spMkLst>
            <pc:docMk/>
            <pc:sldMk cId="22665761" sldId="258"/>
            <ac:spMk id="50" creationId="{E63FFAA8-15DA-4D24-AB88-1B8C66AC4264}"/>
          </ac:spMkLst>
        </pc:spChg>
        <pc:spChg chg="mod">
          <ac:chgData name="Nathan Clouse" userId="60190519-0423-46ec-ac65-f82d83ecfd9c" providerId="ADAL" clId="{BAA416A1-926B-4370-8AC8-5653BE786E1F}" dt="2025-02-24T22:29:06.441" v="1824" actId="403"/>
          <ac:spMkLst>
            <pc:docMk/>
            <pc:sldMk cId="22665761" sldId="258"/>
            <ac:spMk id="86" creationId="{81C6A724-0FB4-4D8E-99FB-28A176D6CD9F}"/>
          </ac:spMkLst>
        </pc:spChg>
        <pc:spChg chg="mod">
          <ac:chgData name="Nathan Clouse" userId="60190519-0423-46ec-ac65-f82d83ecfd9c" providerId="ADAL" clId="{BAA416A1-926B-4370-8AC8-5653BE786E1F}" dt="2025-02-24T22:28:44.866" v="1822" actId="403"/>
          <ac:spMkLst>
            <pc:docMk/>
            <pc:sldMk cId="22665761" sldId="258"/>
            <ac:spMk id="87" creationId="{07DB6CF9-2821-494E-8A5D-14146280FE23}"/>
          </ac:spMkLst>
        </pc:spChg>
        <pc:spChg chg="mod">
          <ac:chgData name="Nathan Clouse" userId="60190519-0423-46ec-ac65-f82d83ecfd9c" providerId="ADAL" clId="{BAA416A1-926B-4370-8AC8-5653BE786E1F}" dt="2025-02-24T22:28:41.741" v="1820" actId="403"/>
          <ac:spMkLst>
            <pc:docMk/>
            <pc:sldMk cId="22665761" sldId="258"/>
            <ac:spMk id="88" creationId="{8DE727F1-8EF1-45DC-822E-56C2113332A5}"/>
          </ac:spMkLst>
        </pc:spChg>
      </pc:sldChg>
      <pc:sldChg chg="del">
        <pc:chgData name="Nathan Clouse" userId="60190519-0423-46ec-ac65-f82d83ecfd9c" providerId="ADAL" clId="{BAA416A1-926B-4370-8AC8-5653BE786E1F}" dt="2025-02-23T00:42:44.077" v="1710" actId="47"/>
        <pc:sldMkLst>
          <pc:docMk/>
          <pc:sldMk cId="1873990172" sldId="259"/>
        </pc:sldMkLst>
      </pc:sldChg>
      <pc:sldChg chg="del">
        <pc:chgData name="Nathan Clouse" userId="60190519-0423-46ec-ac65-f82d83ecfd9c" providerId="ADAL" clId="{BAA416A1-926B-4370-8AC8-5653BE786E1F}" dt="2025-02-23T00:42:44.077" v="1710" actId="47"/>
        <pc:sldMkLst>
          <pc:docMk/>
          <pc:sldMk cId="3300207005" sldId="260"/>
        </pc:sldMkLst>
      </pc:sldChg>
      <pc:sldChg chg="del">
        <pc:chgData name="Nathan Clouse" userId="60190519-0423-46ec-ac65-f82d83ecfd9c" providerId="ADAL" clId="{BAA416A1-926B-4370-8AC8-5653BE786E1F}" dt="2025-02-23T00:42:44.077" v="1710" actId="47"/>
        <pc:sldMkLst>
          <pc:docMk/>
          <pc:sldMk cId="361220971" sldId="261"/>
        </pc:sldMkLst>
      </pc:sldChg>
      <pc:sldChg chg="del">
        <pc:chgData name="Nathan Clouse" userId="60190519-0423-46ec-ac65-f82d83ecfd9c" providerId="ADAL" clId="{BAA416A1-926B-4370-8AC8-5653BE786E1F}" dt="2025-02-23T00:42:44.077" v="1710" actId="47"/>
        <pc:sldMkLst>
          <pc:docMk/>
          <pc:sldMk cId="2762696595" sldId="262"/>
        </pc:sldMkLst>
      </pc:sldChg>
      <pc:sldChg chg="del">
        <pc:chgData name="Nathan Clouse" userId="60190519-0423-46ec-ac65-f82d83ecfd9c" providerId="ADAL" clId="{BAA416A1-926B-4370-8AC8-5653BE786E1F}" dt="2025-02-23T00:42:44.077" v="1710" actId="47"/>
        <pc:sldMkLst>
          <pc:docMk/>
          <pc:sldMk cId="2023237709" sldId="264"/>
        </pc:sldMkLst>
      </pc:sldChg>
      <pc:sldChg chg="del">
        <pc:chgData name="Nathan Clouse" userId="60190519-0423-46ec-ac65-f82d83ecfd9c" providerId="ADAL" clId="{BAA416A1-926B-4370-8AC8-5653BE786E1F}" dt="2025-02-23T00:42:44.077" v="1710" actId="47"/>
        <pc:sldMkLst>
          <pc:docMk/>
          <pc:sldMk cId="2761739746" sldId="277"/>
        </pc:sldMkLst>
      </pc:sldChg>
      <pc:sldChg chg="addSp delSp modSp mod">
        <pc:chgData name="Nathan Clouse" userId="60190519-0423-46ec-ac65-f82d83ecfd9c" providerId="ADAL" clId="{BAA416A1-926B-4370-8AC8-5653BE786E1F}" dt="2025-02-24T22:17:31.972" v="1728" actId="14100"/>
        <pc:sldMkLst>
          <pc:docMk/>
          <pc:sldMk cId="1490033260" sldId="279"/>
        </pc:sldMkLst>
        <pc:picChg chg="add mod">
          <ac:chgData name="Nathan Clouse" userId="60190519-0423-46ec-ac65-f82d83ecfd9c" providerId="ADAL" clId="{BAA416A1-926B-4370-8AC8-5653BE786E1F}" dt="2025-02-24T22:17:31.972" v="1728" actId="14100"/>
          <ac:picMkLst>
            <pc:docMk/>
            <pc:sldMk cId="1490033260" sldId="279"/>
            <ac:picMk id="1026" creationId="{F9F037E4-D08C-EEB0-A590-5BD37B28BA36}"/>
          </ac:picMkLst>
        </pc:picChg>
      </pc:sldChg>
      <pc:sldChg chg="del">
        <pc:chgData name="Nathan Clouse" userId="60190519-0423-46ec-ac65-f82d83ecfd9c" providerId="ADAL" clId="{BAA416A1-926B-4370-8AC8-5653BE786E1F}" dt="2025-02-23T00:42:44.077" v="1710" actId="47"/>
        <pc:sldMkLst>
          <pc:docMk/>
          <pc:sldMk cId="783914003" sldId="281"/>
        </pc:sldMkLst>
      </pc:sldChg>
      <pc:sldChg chg="del">
        <pc:chgData name="Nathan Clouse" userId="60190519-0423-46ec-ac65-f82d83ecfd9c" providerId="ADAL" clId="{BAA416A1-926B-4370-8AC8-5653BE786E1F}" dt="2025-02-23T00:42:44.077" v="1710" actId="47"/>
        <pc:sldMkLst>
          <pc:docMk/>
          <pc:sldMk cId="3799686478" sldId="282"/>
        </pc:sldMkLst>
      </pc:sldChg>
      <pc:sldChg chg="del">
        <pc:chgData name="Nathan Clouse" userId="60190519-0423-46ec-ac65-f82d83ecfd9c" providerId="ADAL" clId="{BAA416A1-926B-4370-8AC8-5653BE786E1F}" dt="2025-02-23T00:42:44.077" v="1710" actId="47"/>
        <pc:sldMkLst>
          <pc:docMk/>
          <pc:sldMk cId="2281397524" sldId="283"/>
        </pc:sldMkLst>
      </pc:sldChg>
      <pc:sldChg chg="del">
        <pc:chgData name="Nathan Clouse" userId="60190519-0423-46ec-ac65-f82d83ecfd9c" providerId="ADAL" clId="{BAA416A1-926B-4370-8AC8-5653BE786E1F}" dt="2025-02-23T00:42:44.077" v="1710" actId="47"/>
        <pc:sldMkLst>
          <pc:docMk/>
          <pc:sldMk cId="1705195333" sldId="284"/>
        </pc:sldMkLst>
      </pc:sldChg>
      <pc:sldChg chg="modSp mod">
        <pc:chgData name="Nathan Clouse" userId="60190519-0423-46ec-ac65-f82d83ecfd9c" providerId="ADAL" clId="{BAA416A1-926B-4370-8AC8-5653BE786E1F}" dt="2025-02-22T19:34:13.875" v="199" actId="20577"/>
        <pc:sldMkLst>
          <pc:docMk/>
          <pc:sldMk cId="753646042" sldId="287"/>
        </pc:sldMkLst>
        <pc:spChg chg="mod">
          <ac:chgData name="Nathan Clouse" userId="60190519-0423-46ec-ac65-f82d83ecfd9c" providerId="ADAL" clId="{BAA416A1-926B-4370-8AC8-5653BE786E1F}" dt="2025-02-22T19:34:13.875" v="199" actId="20577"/>
          <ac:spMkLst>
            <pc:docMk/>
            <pc:sldMk cId="753646042" sldId="287"/>
            <ac:spMk id="3" creationId="{3C6314F6-F76E-3AA6-DF55-C1F944E77579}"/>
          </ac:spMkLst>
        </pc:spChg>
      </pc:sldChg>
      <pc:sldChg chg="del">
        <pc:chgData name="Nathan Clouse" userId="60190519-0423-46ec-ac65-f82d83ecfd9c" providerId="ADAL" clId="{BAA416A1-926B-4370-8AC8-5653BE786E1F}" dt="2025-02-22T19:22:58.049" v="31" actId="47"/>
        <pc:sldMkLst>
          <pc:docMk/>
          <pc:sldMk cId="2161526678" sldId="289"/>
        </pc:sldMkLst>
      </pc:sldChg>
      <pc:sldChg chg="modSp mod">
        <pc:chgData name="Nathan Clouse" userId="60190519-0423-46ec-ac65-f82d83ecfd9c" providerId="ADAL" clId="{BAA416A1-926B-4370-8AC8-5653BE786E1F}" dt="2025-02-26T21:41:29.350" v="1825" actId="403"/>
        <pc:sldMkLst>
          <pc:docMk/>
          <pc:sldMk cId="797394224" sldId="291"/>
        </pc:sldMkLst>
        <pc:spChg chg="mod">
          <ac:chgData name="Nathan Clouse" userId="60190519-0423-46ec-ac65-f82d83ecfd9c" providerId="ADAL" clId="{BAA416A1-926B-4370-8AC8-5653BE786E1F}" dt="2025-02-26T21:41:29.350" v="1825" actId="403"/>
          <ac:spMkLst>
            <pc:docMk/>
            <pc:sldMk cId="797394224" sldId="291"/>
            <ac:spMk id="3" creationId="{777C2E59-A0B7-8467-7E71-1F08A15C1CFD}"/>
          </ac:spMkLst>
        </pc:spChg>
      </pc:sldChg>
      <pc:sldChg chg="add del">
        <pc:chgData name="Nathan Clouse" userId="60190519-0423-46ec-ac65-f82d83ecfd9c" providerId="ADAL" clId="{BAA416A1-926B-4370-8AC8-5653BE786E1F}" dt="2025-02-22T19:23:22.486" v="35" actId="2696"/>
        <pc:sldMkLst>
          <pc:docMk/>
          <pc:sldMk cId="2058293180" sldId="292"/>
        </pc:sldMkLst>
      </pc:sldChg>
      <pc:sldChg chg="modSp mod">
        <pc:chgData name="Nathan Clouse" userId="60190519-0423-46ec-ac65-f82d83ecfd9c" providerId="ADAL" clId="{BAA416A1-926B-4370-8AC8-5653BE786E1F}" dt="2025-02-22T19:22:18.992" v="28" actId="403"/>
        <pc:sldMkLst>
          <pc:docMk/>
          <pc:sldMk cId="3474591398" sldId="294"/>
        </pc:sldMkLst>
        <pc:spChg chg="mod">
          <ac:chgData name="Nathan Clouse" userId="60190519-0423-46ec-ac65-f82d83ecfd9c" providerId="ADAL" clId="{BAA416A1-926B-4370-8AC8-5653BE786E1F}" dt="2025-02-22T19:22:18.992" v="28" actId="403"/>
          <ac:spMkLst>
            <pc:docMk/>
            <pc:sldMk cId="3474591398" sldId="294"/>
            <ac:spMk id="3" creationId="{29EF55E0-2728-3088-26E4-363B27571172}"/>
          </ac:spMkLst>
        </pc:spChg>
      </pc:sldChg>
      <pc:sldChg chg="addSp delSp modSp mod">
        <pc:chgData name="Nathan Clouse" userId="60190519-0423-46ec-ac65-f82d83ecfd9c" providerId="ADAL" clId="{BAA416A1-926B-4370-8AC8-5653BE786E1F}" dt="2025-02-26T21:42:42.519" v="1828" actId="1076"/>
        <pc:sldMkLst>
          <pc:docMk/>
          <pc:sldMk cId="2864337492" sldId="295"/>
        </pc:sldMkLst>
        <pc:spChg chg="mod">
          <ac:chgData name="Nathan Clouse" userId="60190519-0423-46ec-ac65-f82d83ecfd9c" providerId="ADAL" clId="{BAA416A1-926B-4370-8AC8-5653BE786E1F}" dt="2025-02-22T19:55:56.559" v="255" actId="20577"/>
          <ac:spMkLst>
            <pc:docMk/>
            <pc:sldMk cId="2864337492" sldId="295"/>
            <ac:spMk id="17" creationId="{58557809-525E-7B6E-DC26-8474C8D2B443}"/>
          </ac:spMkLst>
        </pc:spChg>
        <pc:picChg chg="add mod">
          <ac:chgData name="Nathan Clouse" userId="60190519-0423-46ec-ac65-f82d83ecfd9c" providerId="ADAL" clId="{BAA416A1-926B-4370-8AC8-5653BE786E1F}" dt="2025-02-26T21:42:42.519" v="1828" actId="1076"/>
          <ac:picMkLst>
            <pc:docMk/>
            <pc:sldMk cId="2864337492" sldId="295"/>
            <ac:picMk id="5" creationId="{593E5397-970B-589A-749C-58DB923186FC}"/>
          </ac:picMkLst>
        </pc:picChg>
      </pc:sldChg>
      <pc:sldChg chg="modSp mod ord">
        <pc:chgData name="Nathan Clouse" userId="60190519-0423-46ec-ac65-f82d83ecfd9c" providerId="ADAL" clId="{BAA416A1-926B-4370-8AC8-5653BE786E1F}" dt="2025-02-22T21:14:18.288" v="727" actId="20577"/>
        <pc:sldMkLst>
          <pc:docMk/>
          <pc:sldMk cId="1188291355" sldId="296"/>
        </pc:sldMkLst>
        <pc:spChg chg="mod">
          <ac:chgData name="Nathan Clouse" userId="60190519-0423-46ec-ac65-f82d83ecfd9c" providerId="ADAL" clId="{BAA416A1-926B-4370-8AC8-5653BE786E1F}" dt="2025-02-22T21:14:18.288" v="727" actId="20577"/>
          <ac:spMkLst>
            <pc:docMk/>
            <pc:sldMk cId="1188291355" sldId="296"/>
            <ac:spMk id="3" creationId="{1809A13E-11EF-7DB5-6A87-5893D52FA2D4}"/>
          </ac:spMkLst>
        </pc:spChg>
        <pc:spChg chg="mod">
          <ac:chgData name="Nathan Clouse" userId="60190519-0423-46ec-ac65-f82d83ecfd9c" providerId="ADAL" clId="{BAA416A1-926B-4370-8AC8-5653BE786E1F}" dt="2025-02-22T21:12:53.599" v="397" actId="20577"/>
          <ac:spMkLst>
            <pc:docMk/>
            <pc:sldMk cId="1188291355" sldId="296"/>
            <ac:spMk id="17" creationId="{12BCC309-91E9-8145-7C4F-BCFA6BEAC641}"/>
          </ac:spMkLst>
        </pc:spChg>
      </pc:sldChg>
      <pc:sldChg chg="del">
        <pc:chgData name="Nathan Clouse" userId="60190519-0423-46ec-ac65-f82d83ecfd9c" providerId="ADAL" clId="{BAA416A1-926B-4370-8AC8-5653BE786E1F}" dt="2025-02-22T21:21:00.564" v="1015" actId="47"/>
        <pc:sldMkLst>
          <pc:docMk/>
          <pc:sldMk cId="3629184929" sldId="297"/>
        </pc:sldMkLst>
      </pc:sldChg>
      <pc:sldChg chg="modSp mod">
        <pc:chgData name="Nathan Clouse" userId="60190519-0423-46ec-ac65-f82d83ecfd9c" providerId="ADAL" clId="{BAA416A1-926B-4370-8AC8-5653BE786E1F}" dt="2025-02-22T21:20:30.352" v="1013" actId="20577"/>
        <pc:sldMkLst>
          <pc:docMk/>
          <pc:sldMk cId="3828808348" sldId="298"/>
        </pc:sldMkLst>
        <pc:spChg chg="mod">
          <ac:chgData name="Nathan Clouse" userId="60190519-0423-46ec-ac65-f82d83ecfd9c" providerId="ADAL" clId="{BAA416A1-926B-4370-8AC8-5653BE786E1F}" dt="2025-02-22T21:20:30.352" v="1013" actId="20577"/>
          <ac:spMkLst>
            <pc:docMk/>
            <pc:sldMk cId="3828808348" sldId="298"/>
            <ac:spMk id="3" creationId="{CBBF6FA8-4CF3-2572-E08F-B982E73EDEA8}"/>
          </ac:spMkLst>
        </pc:spChg>
        <pc:spChg chg="mod">
          <ac:chgData name="Nathan Clouse" userId="60190519-0423-46ec-ac65-f82d83ecfd9c" providerId="ADAL" clId="{BAA416A1-926B-4370-8AC8-5653BE786E1F}" dt="2025-02-22T21:19:19.542" v="1003" actId="20577"/>
          <ac:spMkLst>
            <pc:docMk/>
            <pc:sldMk cId="3828808348" sldId="298"/>
            <ac:spMk id="17" creationId="{9563C938-B9EB-34C6-0F1B-CE7A1034295D}"/>
          </ac:spMkLst>
        </pc:spChg>
      </pc:sldChg>
      <pc:sldChg chg="modSp mod ord">
        <pc:chgData name="Nathan Clouse" userId="60190519-0423-46ec-ac65-f82d83ecfd9c" providerId="ADAL" clId="{BAA416A1-926B-4370-8AC8-5653BE786E1F}" dt="2025-02-22T21:19:16.052" v="993"/>
        <pc:sldMkLst>
          <pc:docMk/>
          <pc:sldMk cId="1607221082" sldId="299"/>
        </pc:sldMkLst>
        <pc:spChg chg="mod">
          <ac:chgData name="Nathan Clouse" userId="60190519-0423-46ec-ac65-f82d83ecfd9c" providerId="ADAL" clId="{BAA416A1-926B-4370-8AC8-5653BE786E1F}" dt="2025-02-22T21:19:12.471" v="991" actId="20577"/>
          <ac:spMkLst>
            <pc:docMk/>
            <pc:sldMk cId="1607221082" sldId="299"/>
            <ac:spMk id="3" creationId="{EDA5DEB5-0E93-D5E7-E080-A941A42E224B}"/>
          </ac:spMkLst>
        </pc:spChg>
        <pc:spChg chg="mod">
          <ac:chgData name="Nathan Clouse" userId="60190519-0423-46ec-ac65-f82d83ecfd9c" providerId="ADAL" clId="{BAA416A1-926B-4370-8AC8-5653BE786E1F}" dt="2025-02-22T21:18:32.045" v="981" actId="20577"/>
          <ac:spMkLst>
            <pc:docMk/>
            <pc:sldMk cId="1607221082" sldId="299"/>
            <ac:spMk id="17" creationId="{667E7F51-E94E-3BCF-0F6C-20C20D337894}"/>
          </ac:spMkLst>
        </pc:spChg>
      </pc:sldChg>
      <pc:sldChg chg="add">
        <pc:chgData name="Nathan Clouse" userId="60190519-0423-46ec-ac65-f82d83ecfd9c" providerId="ADAL" clId="{BAA416A1-926B-4370-8AC8-5653BE786E1F}" dt="2025-02-22T19:23:14.394" v="32"/>
        <pc:sldMkLst>
          <pc:docMk/>
          <pc:sldMk cId="2835483765" sldId="317"/>
        </pc:sldMkLst>
      </pc:sldChg>
      <pc:sldChg chg="add">
        <pc:chgData name="Nathan Clouse" userId="60190519-0423-46ec-ac65-f82d83ecfd9c" providerId="ADAL" clId="{BAA416A1-926B-4370-8AC8-5653BE786E1F}" dt="2025-02-22T20:56:50.497" v="256"/>
        <pc:sldMkLst>
          <pc:docMk/>
          <pc:sldMk cId="1637487947" sldId="318"/>
        </pc:sldMkLst>
      </pc:sldChg>
      <pc:sldChg chg="add">
        <pc:chgData name="Nathan Clouse" userId="60190519-0423-46ec-ac65-f82d83ecfd9c" providerId="ADAL" clId="{BAA416A1-926B-4370-8AC8-5653BE786E1F}" dt="2025-02-22T19:22:46.804" v="30"/>
        <pc:sldMkLst>
          <pc:docMk/>
          <pc:sldMk cId="4225830049" sldId="319"/>
        </pc:sldMkLst>
      </pc:sldChg>
      <pc:sldChg chg="add">
        <pc:chgData name="Nathan Clouse" userId="60190519-0423-46ec-ac65-f82d83ecfd9c" providerId="ADAL" clId="{BAA416A1-926B-4370-8AC8-5653BE786E1F}" dt="2025-02-22T19:22:46.804" v="30"/>
        <pc:sldMkLst>
          <pc:docMk/>
          <pc:sldMk cId="219217345" sldId="320"/>
        </pc:sldMkLst>
      </pc:sldChg>
      <pc:sldChg chg="add">
        <pc:chgData name="Nathan Clouse" userId="60190519-0423-46ec-ac65-f82d83ecfd9c" providerId="ADAL" clId="{BAA416A1-926B-4370-8AC8-5653BE786E1F}" dt="2025-02-22T19:22:24.593" v="29"/>
        <pc:sldMkLst>
          <pc:docMk/>
          <pc:sldMk cId="1644432061" sldId="321"/>
        </pc:sldMkLst>
      </pc:sldChg>
      <pc:sldChg chg="add">
        <pc:chgData name="Nathan Clouse" userId="60190519-0423-46ec-ac65-f82d83ecfd9c" providerId="ADAL" clId="{BAA416A1-926B-4370-8AC8-5653BE786E1F}" dt="2025-02-22T19:23:14.394" v="32"/>
        <pc:sldMkLst>
          <pc:docMk/>
          <pc:sldMk cId="2748089572" sldId="322"/>
        </pc:sldMkLst>
      </pc:sldChg>
      <pc:sldChg chg="add del">
        <pc:chgData name="Nathan Clouse" userId="60190519-0423-46ec-ac65-f82d83ecfd9c" providerId="ADAL" clId="{BAA416A1-926B-4370-8AC8-5653BE786E1F}" dt="2025-02-22T21:00:27.412" v="370" actId="47"/>
        <pc:sldMkLst>
          <pc:docMk/>
          <pc:sldMk cId="2430609865" sldId="323"/>
        </pc:sldMkLst>
      </pc:sldChg>
      <pc:sldChg chg="add">
        <pc:chgData name="Nathan Clouse" userId="60190519-0423-46ec-ac65-f82d83ecfd9c" providerId="ADAL" clId="{BAA416A1-926B-4370-8AC8-5653BE786E1F}" dt="2025-02-22T20:58:00.321" v="257"/>
        <pc:sldMkLst>
          <pc:docMk/>
          <pc:sldMk cId="2458321552" sldId="1458"/>
        </pc:sldMkLst>
      </pc:sldChg>
      <pc:sldChg chg="add">
        <pc:chgData name="Nathan Clouse" userId="60190519-0423-46ec-ac65-f82d83ecfd9c" providerId="ADAL" clId="{BAA416A1-926B-4370-8AC8-5653BE786E1F}" dt="2025-02-22T20:58:00.321" v="257"/>
        <pc:sldMkLst>
          <pc:docMk/>
          <pc:sldMk cId="3918944070" sldId="1463"/>
        </pc:sldMkLst>
      </pc:sldChg>
      <pc:sldChg chg="add">
        <pc:chgData name="Nathan Clouse" userId="60190519-0423-46ec-ac65-f82d83ecfd9c" providerId="ADAL" clId="{BAA416A1-926B-4370-8AC8-5653BE786E1F}" dt="2025-02-22T21:00:25.705" v="369"/>
        <pc:sldMkLst>
          <pc:docMk/>
          <pc:sldMk cId="4038534668" sldId="1476"/>
        </pc:sldMkLst>
      </pc:sldChg>
      <pc:sldChg chg="add">
        <pc:chgData name="Nathan Clouse" userId="60190519-0423-46ec-ac65-f82d83ecfd9c" providerId="ADAL" clId="{BAA416A1-926B-4370-8AC8-5653BE786E1F}" dt="2025-02-22T19:22:46.804" v="30"/>
        <pc:sldMkLst>
          <pc:docMk/>
          <pc:sldMk cId="3637227870" sldId="1481"/>
        </pc:sldMkLst>
      </pc:sldChg>
      <pc:sldChg chg="add">
        <pc:chgData name="Nathan Clouse" userId="60190519-0423-46ec-ac65-f82d83ecfd9c" providerId="ADAL" clId="{BAA416A1-926B-4370-8AC8-5653BE786E1F}" dt="2025-02-22T19:22:46.804" v="30"/>
        <pc:sldMkLst>
          <pc:docMk/>
          <pc:sldMk cId="2360349949" sldId="1486"/>
        </pc:sldMkLst>
      </pc:sldChg>
      <pc:sldChg chg="add">
        <pc:chgData name="Nathan Clouse" userId="60190519-0423-46ec-ac65-f82d83ecfd9c" providerId="ADAL" clId="{BAA416A1-926B-4370-8AC8-5653BE786E1F}" dt="2025-02-22T19:22:46.804" v="30"/>
        <pc:sldMkLst>
          <pc:docMk/>
          <pc:sldMk cId="381208411" sldId="1487"/>
        </pc:sldMkLst>
      </pc:sldChg>
      <pc:sldChg chg="add">
        <pc:chgData name="Nathan Clouse" userId="60190519-0423-46ec-ac65-f82d83ecfd9c" providerId="ADAL" clId="{BAA416A1-926B-4370-8AC8-5653BE786E1F}" dt="2025-02-22T19:22:46.804" v="30"/>
        <pc:sldMkLst>
          <pc:docMk/>
          <pc:sldMk cId="3409747189" sldId="1488"/>
        </pc:sldMkLst>
      </pc:sldChg>
      <pc:sldChg chg="add">
        <pc:chgData name="Nathan Clouse" userId="60190519-0423-46ec-ac65-f82d83ecfd9c" providerId="ADAL" clId="{BAA416A1-926B-4370-8AC8-5653BE786E1F}" dt="2025-02-22T19:22:46.804" v="30"/>
        <pc:sldMkLst>
          <pc:docMk/>
          <pc:sldMk cId="3858232106" sldId="1489"/>
        </pc:sldMkLst>
      </pc:sldChg>
      <pc:sldChg chg="add">
        <pc:chgData name="Nathan Clouse" userId="60190519-0423-46ec-ac65-f82d83ecfd9c" providerId="ADAL" clId="{BAA416A1-926B-4370-8AC8-5653BE786E1F}" dt="2025-02-22T19:22:46.804" v="30"/>
        <pc:sldMkLst>
          <pc:docMk/>
          <pc:sldMk cId="1618287230" sldId="1490"/>
        </pc:sldMkLst>
      </pc:sldChg>
      <pc:sldChg chg="add">
        <pc:chgData name="Nathan Clouse" userId="60190519-0423-46ec-ac65-f82d83ecfd9c" providerId="ADAL" clId="{BAA416A1-926B-4370-8AC8-5653BE786E1F}" dt="2025-02-22T19:22:46.804" v="30"/>
        <pc:sldMkLst>
          <pc:docMk/>
          <pc:sldMk cId="3663335360" sldId="1491"/>
        </pc:sldMkLst>
      </pc:sldChg>
      <pc:sldChg chg="add">
        <pc:chgData name="Nathan Clouse" userId="60190519-0423-46ec-ac65-f82d83ecfd9c" providerId="ADAL" clId="{BAA416A1-926B-4370-8AC8-5653BE786E1F}" dt="2025-02-22T19:24:25.987" v="36"/>
        <pc:sldMkLst>
          <pc:docMk/>
          <pc:sldMk cId="3305255841" sldId="1496"/>
        </pc:sldMkLst>
      </pc:sldChg>
      <pc:sldChg chg="modSp add mod">
        <pc:chgData name="Nathan Clouse" userId="60190519-0423-46ec-ac65-f82d83ecfd9c" providerId="ADAL" clId="{BAA416A1-926B-4370-8AC8-5653BE786E1F}" dt="2025-02-22T20:59:03.246" v="367" actId="20577"/>
        <pc:sldMkLst>
          <pc:docMk/>
          <pc:sldMk cId="2126141737" sldId="1497"/>
        </pc:sldMkLst>
        <pc:spChg chg="mod">
          <ac:chgData name="Nathan Clouse" userId="60190519-0423-46ec-ac65-f82d83ecfd9c" providerId="ADAL" clId="{BAA416A1-926B-4370-8AC8-5653BE786E1F}" dt="2025-02-22T20:59:03.246" v="367" actId="20577"/>
          <ac:spMkLst>
            <pc:docMk/>
            <pc:sldMk cId="2126141737" sldId="1497"/>
            <ac:spMk id="3" creationId="{89B86D61-BD19-5ED3-13DC-25A8CF2B8940}"/>
          </ac:spMkLst>
        </pc:spChg>
      </pc:sldChg>
      <pc:sldChg chg="add">
        <pc:chgData name="Nathan Clouse" userId="60190519-0423-46ec-ac65-f82d83ecfd9c" providerId="ADAL" clId="{BAA416A1-926B-4370-8AC8-5653BE786E1F}" dt="2025-02-22T19:24:25.987" v="36"/>
        <pc:sldMkLst>
          <pc:docMk/>
          <pc:sldMk cId="3539391265" sldId="1498"/>
        </pc:sldMkLst>
      </pc:sldChg>
      <pc:sldChg chg="add">
        <pc:chgData name="Nathan Clouse" userId="60190519-0423-46ec-ac65-f82d83ecfd9c" providerId="ADAL" clId="{BAA416A1-926B-4370-8AC8-5653BE786E1F}" dt="2025-02-22T19:25:18.650" v="158"/>
        <pc:sldMkLst>
          <pc:docMk/>
          <pc:sldMk cId="4084747747" sldId="1502"/>
        </pc:sldMkLst>
      </pc:sldChg>
      <pc:sldChg chg="add">
        <pc:chgData name="Nathan Clouse" userId="60190519-0423-46ec-ac65-f82d83ecfd9c" providerId="ADAL" clId="{BAA416A1-926B-4370-8AC8-5653BE786E1F}" dt="2025-02-22T19:24:25.987" v="36"/>
        <pc:sldMkLst>
          <pc:docMk/>
          <pc:sldMk cId="1932056322" sldId="1503"/>
        </pc:sldMkLst>
      </pc:sldChg>
      <pc:sldChg chg="modSp mod">
        <pc:chgData name="Nathan Clouse" userId="60190519-0423-46ec-ac65-f82d83ecfd9c" providerId="ADAL" clId="{BAA416A1-926B-4370-8AC8-5653BE786E1F}" dt="2025-02-22T19:11:16.320" v="26" actId="13926"/>
        <pc:sldMkLst>
          <pc:docMk/>
          <pc:sldMk cId="2477918148" sldId="1506"/>
        </pc:sldMkLst>
        <pc:spChg chg="mod">
          <ac:chgData name="Nathan Clouse" userId="60190519-0423-46ec-ac65-f82d83ecfd9c" providerId="ADAL" clId="{BAA416A1-926B-4370-8AC8-5653BE786E1F}" dt="2025-02-22T19:11:16.320" v="26" actId="13926"/>
          <ac:spMkLst>
            <pc:docMk/>
            <pc:sldMk cId="2477918148" sldId="1506"/>
            <ac:spMk id="3" creationId="{36CF56B2-3C74-5C03-593E-031B3103C32E}"/>
          </ac:spMkLst>
        </pc:spChg>
      </pc:sldChg>
      <pc:sldChg chg="modSp add mod">
        <pc:chgData name="Nathan Clouse" userId="60190519-0423-46ec-ac65-f82d83ecfd9c" providerId="ADAL" clId="{BAA416A1-926B-4370-8AC8-5653BE786E1F}" dt="2025-02-22T19:11:10.797" v="25" actId="13926"/>
        <pc:sldMkLst>
          <pc:docMk/>
          <pc:sldMk cId="2226604394" sldId="1507"/>
        </pc:sldMkLst>
        <pc:spChg chg="mod">
          <ac:chgData name="Nathan Clouse" userId="60190519-0423-46ec-ac65-f82d83ecfd9c" providerId="ADAL" clId="{BAA416A1-926B-4370-8AC8-5653BE786E1F}" dt="2025-02-22T19:11:10.797" v="25" actId="13926"/>
          <ac:spMkLst>
            <pc:docMk/>
            <pc:sldMk cId="2226604394" sldId="1507"/>
            <ac:spMk id="3" creationId="{9D5251C4-134B-77D0-D62E-DC36D7DBBC7E}"/>
          </ac:spMkLst>
        </pc:spChg>
      </pc:sldChg>
      <pc:sldChg chg="new del">
        <pc:chgData name="Nathan Clouse" userId="60190519-0423-46ec-ac65-f82d83ecfd9c" providerId="ADAL" clId="{BAA416A1-926B-4370-8AC8-5653BE786E1F}" dt="2025-02-22T19:39:35.744" v="202" actId="47"/>
        <pc:sldMkLst>
          <pc:docMk/>
          <pc:sldMk cId="1971616045" sldId="1508"/>
        </pc:sldMkLst>
      </pc:sldChg>
      <pc:sldChg chg="modSp add mod">
        <pc:chgData name="Nathan Clouse" userId="60190519-0423-46ec-ac65-f82d83ecfd9c" providerId="ADAL" clId="{BAA416A1-926B-4370-8AC8-5653BE786E1F}" dt="2025-02-22T19:43:05.385" v="248" actId="27636"/>
        <pc:sldMkLst>
          <pc:docMk/>
          <pc:sldMk cId="1110414304" sldId="1509"/>
        </pc:sldMkLst>
        <pc:spChg chg="mod">
          <ac:chgData name="Nathan Clouse" userId="60190519-0423-46ec-ac65-f82d83ecfd9c" providerId="ADAL" clId="{BAA416A1-926B-4370-8AC8-5653BE786E1F}" dt="2025-02-22T19:43:05.385" v="248" actId="27636"/>
          <ac:spMkLst>
            <pc:docMk/>
            <pc:sldMk cId="1110414304" sldId="1509"/>
            <ac:spMk id="3" creationId="{B56611DA-8D65-925B-53BD-4C2B892C3AFC}"/>
          </ac:spMkLst>
        </pc:spChg>
        <pc:spChg chg="mod">
          <ac:chgData name="Nathan Clouse" userId="60190519-0423-46ec-ac65-f82d83ecfd9c" providerId="ADAL" clId="{BAA416A1-926B-4370-8AC8-5653BE786E1F}" dt="2025-02-22T19:39:39.376" v="204" actId="1076"/>
          <ac:spMkLst>
            <pc:docMk/>
            <pc:sldMk cId="1110414304" sldId="1509"/>
            <ac:spMk id="16" creationId="{D4E4DA06-9240-E61C-1DD4-F743C15208DA}"/>
          </ac:spMkLst>
        </pc:spChg>
        <pc:spChg chg="mod">
          <ac:chgData name="Nathan Clouse" userId="60190519-0423-46ec-ac65-f82d83ecfd9c" providerId="ADAL" clId="{BAA416A1-926B-4370-8AC8-5653BE786E1F}" dt="2025-02-22T19:42:42.040" v="245" actId="20577"/>
          <ac:spMkLst>
            <pc:docMk/>
            <pc:sldMk cId="1110414304" sldId="1509"/>
            <ac:spMk id="17" creationId="{77E064E9-A778-33E3-0A89-8C8D2B7A795D}"/>
          </ac:spMkLst>
        </pc:spChg>
      </pc:sldChg>
      <pc:sldChg chg="modSp add mod ord">
        <pc:chgData name="Nathan Clouse" userId="60190519-0423-46ec-ac65-f82d83ecfd9c" providerId="ADAL" clId="{BAA416A1-926B-4370-8AC8-5653BE786E1F}" dt="2025-02-22T19:43:40.184" v="252" actId="20577"/>
        <pc:sldMkLst>
          <pc:docMk/>
          <pc:sldMk cId="1496514160" sldId="1510"/>
        </pc:sldMkLst>
        <pc:spChg chg="mod">
          <ac:chgData name="Nathan Clouse" userId="60190519-0423-46ec-ac65-f82d83ecfd9c" providerId="ADAL" clId="{BAA416A1-926B-4370-8AC8-5653BE786E1F}" dt="2025-02-22T19:43:40.184" v="252" actId="20577"/>
          <ac:spMkLst>
            <pc:docMk/>
            <pc:sldMk cId="1496514160" sldId="1510"/>
            <ac:spMk id="3" creationId="{EC65AFE1-3FEE-2763-D84C-EC84403F4FA7}"/>
          </ac:spMkLst>
        </pc:spChg>
        <pc:spChg chg="mod">
          <ac:chgData name="Nathan Clouse" userId="60190519-0423-46ec-ac65-f82d83ecfd9c" providerId="ADAL" clId="{BAA416A1-926B-4370-8AC8-5653BE786E1F}" dt="2025-02-22T19:41:38.910" v="230" actId="20577"/>
          <ac:spMkLst>
            <pc:docMk/>
            <pc:sldMk cId="1496514160" sldId="1510"/>
            <ac:spMk id="17" creationId="{B1F63D17-C076-C5BF-F5B5-5B6401F445FC}"/>
          </ac:spMkLst>
        </pc:spChg>
      </pc:sldChg>
      <pc:sldChg chg="add ord">
        <pc:chgData name="Nathan Clouse" userId="60190519-0423-46ec-ac65-f82d83ecfd9c" providerId="ADAL" clId="{BAA416A1-926B-4370-8AC8-5653BE786E1F}" dt="2025-02-22T21:04:30.087" v="375"/>
        <pc:sldMkLst>
          <pc:docMk/>
          <pc:sldMk cId="3390441715" sldId="1511"/>
        </pc:sldMkLst>
      </pc:sldChg>
      <pc:sldChg chg="modSp add mod">
        <pc:chgData name="Nathan Clouse" userId="60190519-0423-46ec-ac65-f82d83ecfd9c" providerId="ADAL" clId="{BAA416A1-926B-4370-8AC8-5653BE786E1F}" dt="2025-02-22T21:07:35.251" v="385" actId="27636"/>
        <pc:sldMkLst>
          <pc:docMk/>
          <pc:sldMk cId="549418626" sldId="1512"/>
        </pc:sldMkLst>
        <pc:spChg chg="mod">
          <ac:chgData name="Nathan Clouse" userId="60190519-0423-46ec-ac65-f82d83ecfd9c" providerId="ADAL" clId="{BAA416A1-926B-4370-8AC8-5653BE786E1F}" dt="2025-02-22T21:07:35.251" v="385" actId="27636"/>
          <ac:spMkLst>
            <pc:docMk/>
            <pc:sldMk cId="549418626" sldId="1512"/>
            <ac:spMk id="3" creationId="{962403CB-AB61-D7C7-DC77-6C70F2040E82}"/>
          </ac:spMkLst>
        </pc:spChg>
      </pc:sldChg>
      <pc:sldChg chg="modSp add del mod">
        <pc:chgData name="Nathan Clouse" userId="60190519-0423-46ec-ac65-f82d83ecfd9c" providerId="ADAL" clId="{BAA416A1-926B-4370-8AC8-5653BE786E1F}" dt="2025-02-22T21:20:55.351" v="1014" actId="47"/>
        <pc:sldMkLst>
          <pc:docMk/>
          <pc:sldMk cId="2272293599" sldId="1513"/>
        </pc:sldMkLst>
      </pc:sldChg>
      <pc:sldChg chg="modSp add mod">
        <pc:chgData name="Nathan Clouse" userId="60190519-0423-46ec-ac65-f82d83ecfd9c" providerId="ADAL" clId="{BAA416A1-926B-4370-8AC8-5653BE786E1F}" dt="2025-02-22T21:18:01.628" v="971" actId="20577"/>
        <pc:sldMkLst>
          <pc:docMk/>
          <pc:sldMk cId="2579213380" sldId="1514"/>
        </pc:sldMkLst>
        <pc:spChg chg="mod">
          <ac:chgData name="Nathan Clouse" userId="60190519-0423-46ec-ac65-f82d83ecfd9c" providerId="ADAL" clId="{BAA416A1-926B-4370-8AC8-5653BE786E1F}" dt="2025-02-22T21:18:01.628" v="971" actId="20577"/>
          <ac:spMkLst>
            <pc:docMk/>
            <pc:sldMk cId="2579213380" sldId="1514"/>
            <ac:spMk id="3" creationId="{BDF42E5F-F6FD-C114-7F60-DBAE4B60672B}"/>
          </ac:spMkLst>
        </pc:spChg>
        <pc:spChg chg="mod">
          <ac:chgData name="Nathan Clouse" userId="60190519-0423-46ec-ac65-f82d83ecfd9c" providerId="ADAL" clId="{BAA416A1-926B-4370-8AC8-5653BE786E1F}" dt="2025-02-22T21:15:56.298" v="771" actId="20577"/>
          <ac:spMkLst>
            <pc:docMk/>
            <pc:sldMk cId="2579213380" sldId="1514"/>
            <ac:spMk id="17" creationId="{BAB2306B-9301-7CEE-4684-3F1DA87371E1}"/>
          </ac:spMkLst>
        </pc:spChg>
      </pc:sldChg>
      <pc:sldChg chg="addSp delSp modSp new mod setBg modClrScheme modAnim chgLayout">
        <pc:chgData name="Nathan Clouse" userId="60190519-0423-46ec-ac65-f82d83ecfd9c" providerId="ADAL" clId="{BAA416A1-926B-4370-8AC8-5653BE786E1F}" dt="2025-02-23T00:06:11.250" v="1113" actId="14100"/>
        <pc:sldMkLst>
          <pc:docMk/>
          <pc:sldMk cId="3157164234" sldId="1515"/>
        </pc:sldMkLst>
        <pc:spChg chg="add mod">
          <ac:chgData name="Nathan Clouse" userId="60190519-0423-46ec-ac65-f82d83ecfd9c" providerId="ADAL" clId="{BAA416A1-926B-4370-8AC8-5653BE786E1F}" dt="2025-02-23T00:04:05.586" v="1081" actId="14100"/>
          <ac:spMkLst>
            <pc:docMk/>
            <pc:sldMk cId="3157164234" sldId="1515"/>
            <ac:spMk id="5" creationId="{12E646E7-A1DD-E0A1-9824-7DC3D8FB3351}"/>
          </ac:spMkLst>
        </pc:spChg>
        <pc:spChg chg="add mod">
          <ac:chgData name="Nathan Clouse" userId="60190519-0423-46ec-ac65-f82d83ecfd9c" providerId="ADAL" clId="{BAA416A1-926B-4370-8AC8-5653BE786E1F}" dt="2025-02-23T00:05:11.859" v="1092" actId="20577"/>
          <ac:spMkLst>
            <pc:docMk/>
            <pc:sldMk cId="3157164234" sldId="1515"/>
            <ac:spMk id="6" creationId="{8EBB4AEC-641F-AF84-9604-6FA118307348}"/>
          </ac:spMkLst>
        </pc:spChg>
        <pc:spChg chg="add mod">
          <ac:chgData name="Nathan Clouse" userId="60190519-0423-46ec-ac65-f82d83ecfd9c" providerId="ADAL" clId="{BAA416A1-926B-4370-8AC8-5653BE786E1F}" dt="2025-02-23T00:06:11.250" v="1113" actId="14100"/>
          <ac:spMkLst>
            <pc:docMk/>
            <pc:sldMk cId="3157164234" sldId="1515"/>
            <ac:spMk id="7" creationId="{3B36D666-4F35-BF1E-5C08-556FB00A9150}"/>
          </ac:spMkLst>
        </pc:spChg>
        <pc:spChg chg="add mod">
          <ac:chgData name="Nathan Clouse" userId="60190519-0423-46ec-ac65-f82d83ecfd9c" providerId="ADAL" clId="{BAA416A1-926B-4370-8AC8-5653BE786E1F}" dt="2025-02-23T00:06:08.088" v="1112" actId="14100"/>
          <ac:spMkLst>
            <pc:docMk/>
            <pc:sldMk cId="3157164234" sldId="1515"/>
            <ac:spMk id="11" creationId="{08EDF401-58BC-09E9-D940-1F5158645C10}"/>
          </ac:spMkLst>
        </pc:spChg>
        <pc:picChg chg="add mod ord">
          <ac:chgData name="Nathan Clouse" userId="60190519-0423-46ec-ac65-f82d83ecfd9c" providerId="ADAL" clId="{BAA416A1-926B-4370-8AC8-5653BE786E1F}" dt="2025-02-23T00:04:54.826" v="1083" actId="167"/>
          <ac:picMkLst>
            <pc:docMk/>
            <pc:sldMk cId="3157164234" sldId="1515"/>
            <ac:picMk id="4" creationId="{2A2BFBEA-4CF6-C331-4A4E-BC13F9E59101}"/>
          </ac:picMkLst>
        </pc:picChg>
      </pc:sldChg>
      <pc:sldChg chg="addSp delSp modSp new mod modClrScheme modAnim chgLayout">
        <pc:chgData name="Nathan Clouse" userId="60190519-0423-46ec-ac65-f82d83ecfd9c" providerId="ADAL" clId="{BAA416A1-926B-4370-8AC8-5653BE786E1F}" dt="2025-02-23T00:28:52.927" v="1157" actId="1076"/>
        <pc:sldMkLst>
          <pc:docMk/>
          <pc:sldMk cId="1598415359" sldId="1516"/>
        </pc:sldMkLst>
        <pc:spChg chg="add mod">
          <ac:chgData name="Nathan Clouse" userId="60190519-0423-46ec-ac65-f82d83ecfd9c" providerId="ADAL" clId="{BAA416A1-926B-4370-8AC8-5653BE786E1F}" dt="2025-02-23T00:25:59.662" v="1133" actId="14100"/>
          <ac:spMkLst>
            <pc:docMk/>
            <pc:sldMk cId="1598415359" sldId="1516"/>
            <ac:spMk id="13" creationId="{9EB72B83-A313-2B36-0F7F-613CF6FDAF3D}"/>
          </ac:spMkLst>
        </pc:spChg>
        <pc:spChg chg="add mod">
          <ac:chgData name="Nathan Clouse" userId="60190519-0423-46ec-ac65-f82d83ecfd9c" providerId="ADAL" clId="{BAA416A1-926B-4370-8AC8-5653BE786E1F}" dt="2025-02-23T00:26:10.425" v="1135" actId="14100"/>
          <ac:spMkLst>
            <pc:docMk/>
            <pc:sldMk cId="1598415359" sldId="1516"/>
            <ac:spMk id="14" creationId="{6A18DE9C-B794-35AB-0A99-82B5BA7641D6}"/>
          </ac:spMkLst>
        </pc:spChg>
        <pc:spChg chg="add mod">
          <ac:chgData name="Nathan Clouse" userId="60190519-0423-46ec-ac65-f82d83ecfd9c" providerId="ADAL" clId="{BAA416A1-926B-4370-8AC8-5653BE786E1F}" dt="2025-02-23T00:26:37.547" v="1141" actId="14100"/>
          <ac:spMkLst>
            <pc:docMk/>
            <pc:sldMk cId="1598415359" sldId="1516"/>
            <ac:spMk id="15" creationId="{E1A415F5-487C-3619-9B24-82A2527CCF1A}"/>
          </ac:spMkLst>
        </pc:spChg>
        <pc:spChg chg="add mod">
          <ac:chgData name="Nathan Clouse" userId="60190519-0423-46ec-ac65-f82d83ecfd9c" providerId="ADAL" clId="{BAA416A1-926B-4370-8AC8-5653BE786E1F}" dt="2025-02-23T00:26:22.093" v="1138" actId="14100"/>
          <ac:spMkLst>
            <pc:docMk/>
            <pc:sldMk cId="1598415359" sldId="1516"/>
            <ac:spMk id="16" creationId="{4C70E506-8EC4-9DE6-7E04-70CEFEC8BF55}"/>
          </ac:spMkLst>
        </pc:spChg>
        <pc:spChg chg="add mod">
          <ac:chgData name="Nathan Clouse" userId="60190519-0423-46ec-ac65-f82d83ecfd9c" providerId="ADAL" clId="{BAA416A1-926B-4370-8AC8-5653BE786E1F}" dt="2025-02-23T00:28:31.610" v="1154" actId="782"/>
          <ac:spMkLst>
            <pc:docMk/>
            <pc:sldMk cId="1598415359" sldId="1516"/>
            <ac:spMk id="17" creationId="{13296748-2BB7-4494-5B2F-35B6AA238827}"/>
          </ac:spMkLst>
        </pc:spChg>
        <pc:spChg chg="add mod">
          <ac:chgData name="Nathan Clouse" userId="60190519-0423-46ec-ac65-f82d83ecfd9c" providerId="ADAL" clId="{BAA416A1-926B-4370-8AC8-5653BE786E1F}" dt="2025-02-23T00:28:52.927" v="1157" actId="1076"/>
          <ac:spMkLst>
            <pc:docMk/>
            <pc:sldMk cId="1598415359" sldId="1516"/>
            <ac:spMk id="18" creationId="{4699B6A6-D33A-06F0-5666-D1AC0EFFFED9}"/>
          </ac:spMkLst>
        </pc:spChg>
        <pc:picChg chg="add mod">
          <ac:chgData name="Nathan Clouse" userId="60190519-0423-46ec-ac65-f82d83ecfd9c" providerId="ADAL" clId="{BAA416A1-926B-4370-8AC8-5653BE786E1F}" dt="2025-02-23T00:25:54.405" v="1131" actId="1076"/>
          <ac:picMkLst>
            <pc:docMk/>
            <pc:sldMk cId="1598415359" sldId="1516"/>
            <ac:picMk id="12" creationId="{C90A0BC4-F307-045B-6764-7C59FFFDA57E}"/>
          </ac:picMkLst>
        </pc:picChg>
      </pc:sldChg>
      <pc:sldChg chg="modSp add mod">
        <pc:chgData name="Nathan Clouse" userId="60190519-0423-46ec-ac65-f82d83ecfd9c" providerId="ADAL" clId="{BAA416A1-926B-4370-8AC8-5653BE786E1F}" dt="2025-02-23T00:38:12.114" v="1671" actId="20577"/>
        <pc:sldMkLst>
          <pc:docMk/>
          <pc:sldMk cId="2396763612" sldId="1517"/>
        </pc:sldMkLst>
        <pc:spChg chg="mod">
          <ac:chgData name="Nathan Clouse" userId="60190519-0423-46ec-ac65-f82d83ecfd9c" providerId="ADAL" clId="{BAA416A1-926B-4370-8AC8-5653BE786E1F}" dt="2025-02-23T00:38:12.114" v="1671" actId="20577"/>
          <ac:spMkLst>
            <pc:docMk/>
            <pc:sldMk cId="2396763612" sldId="1517"/>
            <ac:spMk id="3" creationId="{6486B10F-1888-6288-AEDE-3133032C4997}"/>
          </ac:spMkLst>
        </pc:spChg>
        <pc:spChg chg="mod">
          <ac:chgData name="Nathan Clouse" userId="60190519-0423-46ec-ac65-f82d83ecfd9c" providerId="ADAL" clId="{BAA416A1-926B-4370-8AC8-5653BE786E1F}" dt="2025-02-23T00:31:56.018" v="1181" actId="20577"/>
          <ac:spMkLst>
            <pc:docMk/>
            <pc:sldMk cId="2396763612" sldId="1517"/>
            <ac:spMk id="17" creationId="{C2130419-8E47-4B71-35EC-CC4D253FA3CA}"/>
          </ac:spMkLst>
        </pc:spChg>
      </pc:sldChg>
      <pc:sldChg chg="addSp delSp modSp add mod modNotesTx">
        <pc:chgData name="Nathan Clouse" userId="60190519-0423-46ec-ac65-f82d83ecfd9c" providerId="ADAL" clId="{BAA416A1-926B-4370-8AC8-5653BE786E1F}" dt="2025-02-23T00:42:05.218" v="1709" actId="1076"/>
        <pc:sldMkLst>
          <pc:docMk/>
          <pc:sldMk cId="3077980587" sldId="1518"/>
        </pc:sldMkLst>
        <pc:spChg chg="mod">
          <ac:chgData name="Nathan Clouse" userId="60190519-0423-46ec-ac65-f82d83ecfd9c" providerId="ADAL" clId="{BAA416A1-926B-4370-8AC8-5653BE786E1F}" dt="2025-02-23T00:38:28.571" v="1688" actId="313"/>
          <ac:spMkLst>
            <pc:docMk/>
            <pc:sldMk cId="3077980587" sldId="1518"/>
            <ac:spMk id="17" creationId="{50C34FCF-A15E-8B1B-DE55-EB2D42ED9236}"/>
          </ac:spMkLst>
        </pc:spChg>
        <pc:graphicFrameChg chg="add mod modGraphic">
          <ac:chgData name="Nathan Clouse" userId="60190519-0423-46ec-ac65-f82d83ecfd9c" providerId="ADAL" clId="{BAA416A1-926B-4370-8AC8-5653BE786E1F}" dt="2025-02-23T00:42:05.218" v="1709" actId="1076"/>
          <ac:graphicFrameMkLst>
            <pc:docMk/>
            <pc:sldMk cId="3077980587" sldId="1518"/>
            <ac:graphicFrameMk id="6" creationId="{6976BFD3-1278-9102-B755-D73ABCC04CC3}"/>
          </ac:graphicFrameMkLst>
        </pc:graphicFrameChg>
      </pc:sldChg>
      <pc:sldChg chg="addSp delSp modSp new mod modClrScheme modAnim chgLayout">
        <pc:chgData name="Nathan Clouse" userId="60190519-0423-46ec-ac65-f82d83ecfd9c" providerId="ADAL" clId="{BAA416A1-926B-4370-8AC8-5653BE786E1F}" dt="2025-02-24T22:19:00.601" v="1734" actId="14100"/>
        <pc:sldMkLst>
          <pc:docMk/>
          <pc:sldMk cId="1434165780" sldId="1519"/>
        </pc:sldMkLst>
        <pc:spChg chg="add mod">
          <ac:chgData name="Nathan Clouse" userId="60190519-0423-46ec-ac65-f82d83ecfd9c" providerId="ADAL" clId="{BAA416A1-926B-4370-8AC8-5653BE786E1F}" dt="2025-02-24T22:18:39.131" v="1731" actId="14100"/>
          <ac:spMkLst>
            <pc:docMk/>
            <pc:sldMk cId="1434165780" sldId="1519"/>
            <ac:spMk id="2" creationId="{F890E4BC-0413-2DD2-DC89-C27AE60C402A}"/>
          </ac:spMkLst>
        </pc:spChg>
        <pc:spChg chg="add mod">
          <ac:chgData name="Nathan Clouse" userId="60190519-0423-46ec-ac65-f82d83ecfd9c" providerId="ADAL" clId="{BAA416A1-926B-4370-8AC8-5653BE786E1F}" dt="2025-02-24T22:19:00.601" v="1734" actId="14100"/>
          <ac:spMkLst>
            <pc:docMk/>
            <pc:sldMk cId="1434165780" sldId="1519"/>
            <ac:spMk id="3" creationId="{BFC42CA6-30B8-58D0-B5DC-5CD7420C090A}"/>
          </ac:spMkLst>
        </pc:spChg>
        <pc:picChg chg="add mod">
          <ac:chgData name="Nathan Clouse" userId="60190519-0423-46ec-ac65-f82d83ecfd9c" providerId="ADAL" clId="{BAA416A1-926B-4370-8AC8-5653BE786E1F}" dt="2025-02-23T03:57:20.848" v="1717" actId="962"/>
          <ac:picMkLst>
            <pc:docMk/>
            <pc:sldMk cId="1434165780" sldId="1519"/>
            <ac:picMk id="8" creationId="{A998C165-90DE-28A1-5D1A-6477EA106658}"/>
          </ac:picMkLst>
        </pc:picChg>
      </pc:sldChg>
      <pc:sldChg chg="addSp delSp modSp new mod modClrScheme modAnim chgLayout">
        <pc:chgData name="Nathan Clouse" userId="60190519-0423-46ec-ac65-f82d83ecfd9c" providerId="ADAL" clId="{BAA416A1-926B-4370-8AC8-5653BE786E1F}" dt="2025-02-24T22:19:56.669" v="1740" actId="14100"/>
        <pc:sldMkLst>
          <pc:docMk/>
          <pc:sldMk cId="2352814248" sldId="1520"/>
        </pc:sldMkLst>
        <pc:spChg chg="add mod">
          <ac:chgData name="Nathan Clouse" userId="60190519-0423-46ec-ac65-f82d83ecfd9c" providerId="ADAL" clId="{BAA416A1-926B-4370-8AC8-5653BE786E1F}" dt="2025-02-24T22:19:32.970" v="1737" actId="14100"/>
          <ac:spMkLst>
            <pc:docMk/>
            <pc:sldMk cId="2352814248" sldId="1520"/>
            <ac:spMk id="2" creationId="{734D5D3A-B98B-C440-16D7-B344E9AC4FD9}"/>
          </ac:spMkLst>
        </pc:spChg>
        <pc:spChg chg="add mod">
          <ac:chgData name="Nathan Clouse" userId="60190519-0423-46ec-ac65-f82d83ecfd9c" providerId="ADAL" clId="{BAA416A1-926B-4370-8AC8-5653BE786E1F}" dt="2025-02-24T22:19:56.669" v="1740" actId="14100"/>
          <ac:spMkLst>
            <pc:docMk/>
            <pc:sldMk cId="2352814248" sldId="1520"/>
            <ac:spMk id="3" creationId="{CCD9F3E9-E3DC-4E12-14A1-769F0C49D0DF}"/>
          </ac:spMkLst>
        </pc:spChg>
        <pc:picChg chg="add mod">
          <ac:chgData name="Nathan Clouse" userId="60190519-0423-46ec-ac65-f82d83ecfd9c" providerId="ADAL" clId="{BAA416A1-926B-4370-8AC8-5653BE786E1F}" dt="2025-02-23T03:57:56.763" v="1723" actId="962"/>
          <ac:picMkLst>
            <pc:docMk/>
            <pc:sldMk cId="2352814248" sldId="1520"/>
            <ac:picMk id="8" creationId="{73F9CE2A-AF53-EED1-95B1-13CB14EEAAE3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90D770-57B5-41AE-94A5-8172B3072938}" type="datetimeFigureOut">
              <a:rPr lang="en-US" smtClean="0"/>
              <a:t>2/2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221A22-6757-4DFC-AC52-B0B349051EA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21146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3B7691-28ED-2FEB-E5CD-C457A092CA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D3AA4FC-A800-B3FA-644E-C5EE0F14AFF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C3B452D-F583-2654-5D5A-70867690B15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2CFD6F3-D28C-31A0-50DF-4D0BCCFC697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72762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65113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614473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872886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www.atomicax.com/article/database-inserts-and-performance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353160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learn.microsoft.com/en-us/dynamics365/fin-ops-core/dev-itpro/dev-ref/xpp-data/xpp-data-perf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329676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redit: https://samuelardilacarreno.com/2022/09/17/monitoring-and-telemetry-for-dynamics-365-finance-and-operations/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4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445477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5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09088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05BF1E-1166-42E4-A650-DA8B4F7A4AC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0E45B50-3542-4823-BBEB-016A3A15D80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30FC5B5-1E1F-4F0D-B339-EA77AC1BB0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491C48-D9A0-4212-BCF5-162DC3A6DE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4B34A6-D8EB-4985-AFC2-02935CB5BE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24355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258ECF-D4A1-455D-9C89-5A8918AFA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CD0D2A3-2723-4E51-91B3-96FFD9473FD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2EA93C8-8A6A-48B8-B7B4-54AC10D34E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BABC066-172F-47A4-8A21-C259819B8F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0ADF40-0E2A-4CEA-BE91-AD2B23CCE4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63571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779E898-53E5-4DB6-8E1F-441A34BE954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4A75BBB-D183-48AD-B055-BEDA3A18867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1837008-1508-4D8A-AFCC-DD48481AE4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AF37FAC-F0B4-471F-B51A-D1C1468ACF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A7B634-79C3-488C-BF4B-4BC20173C5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30022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5FFCFD5-7549-46DE-99AE-A249D5D5F3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79155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F5FFCFD5-7549-46DE-99AE-A249D5D5F3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BFE13E35-06C7-4AAE-AA3F-972308AF3AE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8300B4D-EA0D-4DD5-92FE-9AE5CDD9248C}"/>
              </a:ext>
            </a:extLst>
          </p:cNvPr>
          <p:cNvSpPr/>
          <p:nvPr userDrawn="1"/>
        </p:nvSpPr>
        <p:spPr>
          <a:xfrm>
            <a:off x="11239954" y="6519862"/>
            <a:ext cx="444500" cy="338137"/>
          </a:xfrm>
          <a:prstGeom prst="rect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1D3AD22B-25E4-4680-8484-6D885B9CCEE8}"/>
              </a:ext>
            </a:extLst>
          </p:cNvPr>
          <p:cNvSpPr/>
          <p:nvPr userDrawn="1"/>
        </p:nvSpPr>
        <p:spPr>
          <a:xfrm>
            <a:off x="11239954" y="6316662"/>
            <a:ext cx="444500" cy="444500"/>
          </a:xfrm>
          <a:prstGeom prst="ellipse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4EED8CC-574A-4170-AB23-424B7F5BDF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4243" y="365125"/>
            <a:ext cx="11063515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18B05A6-6B64-4F04-A952-8081607C02E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825625"/>
            <a:ext cx="11063515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798E3A-8CEB-4709-9B49-E0C39D4180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64243" y="6356350"/>
            <a:ext cx="4114800" cy="365125"/>
          </a:xfrm>
        </p:spPr>
        <p:txBody>
          <a:bodyPr/>
          <a:lstStyle>
            <a:lvl1pPr algn="l">
              <a:defRPr/>
            </a:lvl1pPr>
          </a:lstStyle>
          <a:p>
            <a:pPr algn="l"/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E743404-9A57-4735-ACBB-7108D1A427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6650" y="6356350"/>
            <a:ext cx="331108" cy="365125"/>
          </a:xfrm>
        </p:spPr>
        <p:txBody>
          <a:bodyPr lIns="0" tIns="0" rIns="0" bIns="0"/>
          <a:lstStyle>
            <a:lvl1pPr algn="ctr">
              <a:defRPr sz="900" b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8D05A9CD-9176-4D89-A414-3BEEE81BBC7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90564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0BC0DB-6472-43BB-ABA8-D8F66889EE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E6A6C4A-7E58-4AE3-A079-EA1D8F7E5D5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83E6C5A-FADC-4464-B574-84BE9A9AE8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D5AB64-3B8F-469A-9E9D-31AF0A6732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644728-1BF7-442A-8B14-27772F7F28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0526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073B3-B0D0-4D5C-92E7-2AAFB805B1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F5FC71F-EE36-48B6-8807-2B48ADDC14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A7774ED-94F7-48EB-BB14-292A9DEEAC6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0125242-488C-4F35-9C69-034559477E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85215A4-C697-4853-B389-4388146820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E855D4F-3EC5-48E5-93CF-5B39557432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95175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15FD3B-62B2-40A7-9C5E-D59A563B85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24B52F2-0C45-40FA-BA05-6D71C767509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E3162A5-558A-4178-A596-17F9AF8950D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0E18D29-500B-4D5C-84EE-272E40FA2C0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28AE882-0C6C-4945-9BD8-8C7D92F8A44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1AFC0EB-3EF1-49E9-9D2B-5BC44206CE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9879882-1555-42E6-BADE-2724267BFE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CF01C58-BCC5-4D09-986E-2B2C179B6A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97770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100A9B-3C47-40D5-B012-97B76E52F1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8CFC465-660A-4C1D-BADB-F3AC3396EA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B1BCC98-DE68-44EC-840A-9FB43DB0E0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109EF7D-6C8E-4283-BB47-AA9AB6DB1F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795728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C42AA79-F984-4422-BF6F-50883D79C8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D2003D-CE92-47E4-8106-E66ED1BB91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463EB9E-00B9-4AB1-BC48-99741F2FC0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81626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E5B6F4-ADD4-4797-8738-409BE6538E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92E08F3-F99C-4CB5-8E61-6D9945F554C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681CE58-44DA-48F3-ADE9-ED905CAD55B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36EB04A-137F-416C-9B0B-195B39A68B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775602A-70AE-46FE-89FD-5EA00F3965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1F55F41-E685-4D3D-9929-3E02B72332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49632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D18340-4AF0-4FF0-8817-AE7B28572D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FFB86DB-D51B-4F95-A82B-E19F9D7364A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E60E2CC-1033-48AC-9E85-26A7C2E8988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05152D4-B87B-4D90-9451-5EA4B577FD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C44E855-F194-46C7-B1A7-F4AB5C0AA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7DD6947-6438-4AB6-958F-A11FF5ED67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60153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F91C388-EB4B-48EF-9782-5EF82E15A8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9736557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83" imgH="384" progId="TCLayout.ActiveDocument.1">
                  <p:embed/>
                </p:oleObj>
              </mc:Choice>
              <mc:Fallback>
                <p:oleObj name="think-cell Slide" r:id="rId15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F91C388-EB4B-48EF-9782-5EF82E15A8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A6704376-6210-4E3A-9786-1426DDE0A945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20A06BC-D081-497A-9E69-9C9229194D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11365F-4FB0-4D50-AD30-EB300A5FDD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4575C3-6B77-45F9-8BB3-CF2AEE26EF1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9FB4E16-9F6A-4AE3-A484-182F2B67229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1B73065-0481-485F-8A72-5FC7E24E89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43767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jpe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jpe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4.png"/><Relationship Id="rId12" Type="http://schemas.openxmlformats.org/officeDocument/2006/relationships/image" Target="../media/image9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6" Type="http://schemas.openxmlformats.org/officeDocument/2006/relationships/image" Target="../media/image3.jpg"/><Relationship Id="rId11" Type="http://schemas.openxmlformats.org/officeDocument/2006/relationships/image" Target="../media/image8.png"/><Relationship Id="rId5" Type="http://schemas.openxmlformats.org/officeDocument/2006/relationships/image" Target="../media/image1.emf"/><Relationship Id="rId10" Type="http://schemas.openxmlformats.org/officeDocument/2006/relationships/image" Target="../media/image7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6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7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13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.emf"/><Relationship Id="rId12" Type="http://schemas.openxmlformats.org/officeDocument/2006/relationships/image" Target="../media/image7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6" Type="http://schemas.openxmlformats.org/officeDocument/2006/relationships/oleObject" Target="../embeddings/oleObject3.bin"/><Relationship Id="rId11" Type="http://schemas.openxmlformats.org/officeDocument/2006/relationships/image" Target="../media/image5.png"/><Relationship Id="rId5" Type="http://schemas.openxmlformats.org/officeDocument/2006/relationships/image" Target="../media/image10.png"/><Relationship Id="rId15" Type="http://schemas.openxmlformats.org/officeDocument/2006/relationships/image" Target="../media/image15.png"/><Relationship Id="rId10" Type="http://schemas.openxmlformats.org/officeDocument/2006/relationships/image" Target="../media/image4.png"/><Relationship Id="rId4" Type="http://schemas.openxmlformats.org/officeDocument/2006/relationships/image" Target="../media/image3.jpg"/><Relationship Id="rId9" Type="http://schemas.openxmlformats.org/officeDocument/2006/relationships/image" Target="../media/image12.png"/><Relationship Id="rId14" Type="http://schemas.openxmlformats.org/officeDocument/2006/relationships/image" Target="../media/image14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9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8.jpg"/><Relationship Id="rId4" Type="http://schemas.openxmlformats.org/officeDocument/2006/relationships/image" Target="../media/image17.jpeg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7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9.jpe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12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0.pn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7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7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hyperlink" Target="https://community.dynamics.com/blogs/post/?postid=77bd7a1b-5cc7-4947-a724-109d41d113b3" TargetMode="External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png"/><Relationship Id="rId5" Type="http://schemas.openxmlformats.org/officeDocument/2006/relationships/hyperlink" Target="https://ariste.info/2021/06/socratex-application-checker/" TargetMode="External"/><Relationship Id="rId4" Type="http://schemas.openxmlformats.org/officeDocument/2006/relationships/hyperlink" Target="https://community.dynamics.com/blogs/post/?postid=fc6c120d-b134-47ef-9651-b4deb7d3560c" TargetMode="External"/></Relationships>
</file>

<file path=ppt/slides/_rels/slide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hyperlink" Target="https://www.atomicax.com/article/does-specifying-columns-select-statements-matter" TargetMode="External"/><Relationship Id="rId7" Type="http://schemas.openxmlformats.org/officeDocument/2006/relationships/hyperlink" Target="https://www.atomicax.com/article/when-create-individual-task-modelled-batch-job" TargetMode="External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atomicax.com/article/when-create-runbasebatch-batch-job" TargetMode="External"/><Relationship Id="rId5" Type="http://schemas.openxmlformats.org/officeDocument/2006/relationships/hyperlink" Target="https://www.atomicax.com/content/odata-experiment-deep-dive-odata-and-how-use-it" TargetMode="External"/><Relationship Id="rId4" Type="http://schemas.openxmlformats.org/officeDocument/2006/relationships/hyperlink" Target="https://www.atomicax.com/article/database-inserts-and-performance" TargetMode="External"/></Relationships>
</file>

<file path=ppt/slides/_rels/slide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44.jpe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42.png"/><Relationship Id="rId12" Type="http://schemas.openxmlformats.org/officeDocument/2006/relationships/image" Target="../media/image43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.xml"/><Relationship Id="rId6" Type="http://schemas.openxmlformats.org/officeDocument/2006/relationships/image" Target="../media/image1.emf"/><Relationship Id="rId11" Type="http://schemas.openxmlformats.org/officeDocument/2006/relationships/image" Target="../media/image9.png"/><Relationship Id="rId5" Type="http://schemas.openxmlformats.org/officeDocument/2006/relationships/oleObject" Target="../embeddings/oleObject3.bin"/><Relationship Id="rId10" Type="http://schemas.openxmlformats.org/officeDocument/2006/relationships/image" Target="../media/image8.png"/><Relationship Id="rId4" Type="http://schemas.openxmlformats.org/officeDocument/2006/relationships/image" Target="../media/image10.png"/><Relationship Id="rId9" Type="http://schemas.openxmlformats.org/officeDocument/2006/relationships/image" Target="../media/image11.png"/><Relationship Id="rId14" Type="http://schemas.openxmlformats.org/officeDocument/2006/relationships/image" Target="../media/image4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68CED8-F2DD-22DD-1889-C9EF92F11D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DE8776C-6DC2-8A4C-83AE-08777AEFF3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DE8776C-6DC2-8A4C-83AE-08777AEFF3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14F05554-D781-C23F-4F04-4FB8C6D319F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148242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11E821-22C0-6400-9CAE-70167CB0C9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group of colorful squares&#10;&#10;Description automatically generated">
            <a:extLst>
              <a:ext uri="{FF2B5EF4-FFF2-40B4-BE49-F238E27FC236}">
                <a16:creationId xmlns:a16="http://schemas.microsoft.com/office/drawing/2014/main" id="{C12A43D2-0EDF-BF53-2310-4DBBA88BBE0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87" y="6156644"/>
            <a:ext cx="597947" cy="597947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45E1108-C083-B110-6A6C-610620F89F8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dirty="0" err="1"/>
              <a:t>ttsbegin</a:t>
            </a:r>
            <a:r>
              <a:rPr lang="en-GB" dirty="0"/>
              <a:t>;</a:t>
            </a:r>
          </a:p>
          <a:p>
            <a:pPr marL="0" indent="0">
              <a:buNone/>
            </a:pPr>
            <a:r>
              <a:rPr lang="en-GB" dirty="0"/>
              <a:t>for(int </a:t>
            </a:r>
            <a:r>
              <a:rPr lang="en-GB" dirty="0" err="1"/>
              <a:t>i</a:t>
            </a:r>
            <a:r>
              <a:rPr lang="en-GB" dirty="0"/>
              <a:t> = 0; </a:t>
            </a:r>
            <a:r>
              <a:rPr lang="en-GB" dirty="0" err="1"/>
              <a:t>i</a:t>
            </a:r>
            <a:r>
              <a:rPr lang="en-GB" dirty="0"/>
              <a:t> &lt;= </a:t>
            </a:r>
            <a:r>
              <a:rPr lang="en-GB" dirty="0" err="1"/>
              <a:t>this.parmRecordCount</a:t>
            </a:r>
            <a:r>
              <a:rPr lang="en-GB" dirty="0"/>
              <a:t>(); </a:t>
            </a:r>
            <a:r>
              <a:rPr lang="en-GB" dirty="0" err="1"/>
              <a:t>i</a:t>
            </a:r>
            <a:r>
              <a:rPr lang="en-GB" dirty="0"/>
              <a:t>++)</a:t>
            </a:r>
          </a:p>
          <a:p>
            <a:pPr marL="0" indent="0">
              <a:buNone/>
            </a:pPr>
            <a:r>
              <a:rPr lang="en-GB" dirty="0"/>
              <a:t>{</a:t>
            </a:r>
          </a:p>
          <a:p>
            <a:pPr marL="0" indent="0">
              <a:buNone/>
            </a:pPr>
            <a:r>
              <a:rPr lang="en-GB" dirty="0"/>
              <a:t>    </a:t>
            </a:r>
            <a:r>
              <a:rPr lang="en-GB" dirty="0" err="1"/>
              <a:t>SalesPool.SalesPoolId</a:t>
            </a:r>
            <a:r>
              <a:rPr lang="en-GB" dirty="0"/>
              <a:t> = int2Str(</a:t>
            </a:r>
            <a:r>
              <a:rPr lang="en-GB" dirty="0" err="1"/>
              <a:t>i</a:t>
            </a:r>
            <a:r>
              <a:rPr lang="en-GB" dirty="0"/>
              <a:t>);</a:t>
            </a:r>
          </a:p>
          <a:p>
            <a:pPr marL="0" indent="0">
              <a:buNone/>
            </a:pPr>
            <a:r>
              <a:rPr lang="en-GB" dirty="0"/>
              <a:t>    </a:t>
            </a:r>
            <a:r>
              <a:rPr lang="en-GB" dirty="0" err="1"/>
              <a:t>SalesPool.Name</a:t>
            </a:r>
            <a:r>
              <a:rPr lang="en-GB" dirty="0"/>
              <a:t> = int2Str(</a:t>
            </a:r>
            <a:r>
              <a:rPr lang="en-GB" dirty="0" err="1"/>
              <a:t>i</a:t>
            </a:r>
            <a:r>
              <a:rPr lang="en-GB" dirty="0"/>
              <a:t>);</a:t>
            </a:r>
          </a:p>
          <a:p>
            <a:pPr marL="0" indent="0">
              <a:buNone/>
            </a:pPr>
            <a:r>
              <a:rPr lang="en-GB" dirty="0"/>
              <a:t>    </a:t>
            </a:r>
            <a:r>
              <a:rPr lang="en-GB" dirty="0" err="1"/>
              <a:t>SalesPool.insert</a:t>
            </a:r>
            <a:r>
              <a:rPr lang="en-GB" dirty="0"/>
              <a:t>();</a:t>
            </a:r>
          </a:p>
          <a:p>
            <a:pPr marL="0" indent="0">
              <a:buNone/>
            </a:pPr>
            <a:r>
              <a:rPr lang="en-GB" dirty="0"/>
              <a:t>}</a:t>
            </a:r>
          </a:p>
          <a:p>
            <a:pPr marL="0" indent="0">
              <a:buNone/>
            </a:pPr>
            <a:r>
              <a:rPr lang="en-GB" dirty="0" err="1"/>
              <a:t>ttscommit</a:t>
            </a:r>
            <a:r>
              <a:rPr lang="en-GB" dirty="0"/>
              <a:t>;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388917F-D83F-E16E-4F27-7F964633A0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16" name="Rectángulo redondeado 14">
            <a:extLst>
              <a:ext uri="{FF2B5EF4-FFF2-40B4-BE49-F238E27FC236}">
                <a16:creationId xmlns:a16="http://schemas.microsoft.com/office/drawing/2014/main" id="{59789E90-8991-BEDA-6BE2-0B5C8D7E5027}"/>
              </a:ext>
            </a:extLst>
          </p:cNvPr>
          <p:cNvSpPr/>
          <p:nvPr/>
        </p:nvSpPr>
        <p:spPr>
          <a:xfrm>
            <a:off x="207123" y="215979"/>
            <a:ext cx="9444878" cy="1214125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ángulo 12">
            <a:extLst>
              <a:ext uri="{FF2B5EF4-FFF2-40B4-BE49-F238E27FC236}">
                <a16:creationId xmlns:a16="http://schemas.microsoft.com/office/drawing/2014/main" id="{C695AA46-55C3-070A-6A4F-59CA4D0B9196}"/>
              </a:ext>
            </a:extLst>
          </p:cNvPr>
          <p:cNvSpPr/>
          <p:nvPr/>
        </p:nvSpPr>
        <p:spPr>
          <a:xfrm>
            <a:off x="676534" y="396696"/>
            <a:ext cx="8638916" cy="769441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Code – Good Pattern - Insert</a:t>
            </a:r>
          </a:p>
        </p:txBody>
      </p:sp>
      <p:pic>
        <p:nvPicPr>
          <p:cNvPr id="2" name="Content Placeholder 11" descr="A logo with a black background">
            <a:extLst>
              <a:ext uri="{FF2B5EF4-FFF2-40B4-BE49-F238E27FC236}">
                <a16:creationId xmlns:a16="http://schemas.microsoft.com/office/drawing/2014/main" id="{E47936E3-3776-AB10-1F2B-3B8D39D90D5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0916" y="-84227"/>
            <a:ext cx="3751522" cy="2110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096725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5CC8E8C-39CC-6B3F-9263-39FFBF35A0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group of colorful squares&#10;&#10;Description automatically generated">
            <a:extLst>
              <a:ext uri="{FF2B5EF4-FFF2-40B4-BE49-F238E27FC236}">
                <a16:creationId xmlns:a16="http://schemas.microsoft.com/office/drawing/2014/main" id="{5E4D2EC2-B3E8-F57F-64DC-D80468B7B95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87" y="6156644"/>
            <a:ext cx="597947" cy="597947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FF042CD-D74B-57C6-4C4A-FB0BB0766CD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62500" lnSpcReduction="20000"/>
          </a:bodyPr>
          <a:lstStyle/>
          <a:p>
            <a:pPr marL="0" indent="0">
              <a:buNone/>
            </a:pPr>
            <a:r>
              <a:rPr lang="en-GB" dirty="0" err="1"/>
              <a:t>RecordInsertList</a:t>
            </a:r>
            <a:r>
              <a:rPr lang="en-GB" dirty="0"/>
              <a:t> </a:t>
            </a:r>
            <a:r>
              <a:rPr lang="en-GB" dirty="0" err="1"/>
              <a:t>SalesPoolList</a:t>
            </a:r>
            <a:r>
              <a:rPr lang="en-GB" dirty="0"/>
              <a:t>;</a:t>
            </a:r>
          </a:p>
          <a:p>
            <a:pPr marL="0" indent="0">
              <a:buNone/>
            </a:pPr>
            <a:r>
              <a:rPr lang="en-GB" dirty="0" err="1"/>
              <a:t>SalesPoolList</a:t>
            </a:r>
            <a:r>
              <a:rPr lang="en-GB" dirty="0"/>
              <a:t> = new </a:t>
            </a:r>
            <a:r>
              <a:rPr lang="en-GB" dirty="0" err="1"/>
              <a:t>RecordInsertList</a:t>
            </a:r>
            <a:r>
              <a:rPr lang="en-GB" dirty="0"/>
              <a:t>(</a:t>
            </a:r>
            <a:r>
              <a:rPr lang="en-GB" dirty="0" err="1"/>
              <a:t>tableNum</a:t>
            </a:r>
            <a:r>
              <a:rPr lang="en-GB" dirty="0"/>
              <a:t>(</a:t>
            </a:r>
            <a:r>
              <a:rPr lang="en-GB" dirty="0" err="1"/>
              <a:t>SalesPool</a:t>
            </a:r>
            <a:r>
              <a:rPr lang="en-GB" dirty="0"/>
              <a:t>));</a:t>
            </a:r>
          </a:p>
          <a:p>
            <a:pPr marL="0" indent="0">
              <a:buNone/>
            </a:pPr>
            <a:r>
              <a:rPr lang="en-GB" dirty="0" err="1"/>
              <a:t>SalesPool</a:t>
            </a:r>
            <a:r>
              <a:rPr lang="en-GB" dirty="0"/>
              <a:t> </a:t>
            </a:r>
            <a:r>
              <a:rPr lang="en-GB" dirty="0" err="1"/>
              <a:t>SalesPool</a:t>
            </a:r>
            <a:r>
              <a:rPr lang="en-GB" dirty="0"/>
              <a:t>;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r>
              <a:rPr lang="en-GB" dirty="0" err="1"/>
              <a:t>ttsbegin</a:t>
            </a:r>
            <a:r>
              <a:rPr lang="en-GB" dirty="0"/>
              <a:t>;</a:t>
            </a:r>
          </a:p>
          <a:p>
            <a:pPr marL="0" indent="0">
              <a:buNone/>
            </a:pPr>
            <a:r>
              <a:rPr lang="en-GB" dirty="0"/>
              <a:t>for(int </a:t>
            </a:r>
            <a:r>
              <a:rPr lang="en-GB" dirty="0" err="1"/>
              <a:t>i</a:t>
            </a:r>
            <a:r>
              <a:rPr lang="en-GB" dirty="0"/>
              <a:t> = 0; </a:t>
            </a:r>
            <a:r>
              <a:rPr lang="en-GB" dirty="0" err="1"/>
              <a:t>i</a:t>
            </a:r>
            <a:r>
              <a:rPr lang="en-GB" dirty="0"/>
              <a:t> &lt;= </a:t>
            </a:r>
            <a:r>
              <a:rPr lang="en-GB" dirty="0" err="1"/>
              <a:t>this.parmRecordCount</a:t>
            </a:r>
            <a:r>
              <a:rPr lang="en-GB" dirty="0"/>
              <a:t>(); </a:t>
            </a:r>
            <a:r>
              <a:rPr lang="en-GB" dirty="0" err="1"/>
              <a:t>i</a:t>
            </a:r>
            <a:r>
              <a:rPr lang="en-GB" dirty="0"/>
              <a:t>++)</a:t>
            </a:r>
          </a:p>
          <a:p>
            <a:pPr marL="0" indent="0">
              <a:buNone/>
            </a:pPr>
            <a:r>
              <a:rPr lang="en-GB" dirty="0"/>
              <a:t>{</a:t>
            </a:r>
          </a:p>
          <a:p>
            <a:pPr marL="0" indent="0">
              <a:buNone/>
            </a:pPr>
            <a:r>
              <a:rPr lang="en-GB" dirty="0"/>
              <a:t>    </a:t>
            </a:r>
            <a:r>
              <a:rPr lang="en-GB" dirty="0" err="1"/>
              <a:t>SalesPool.SalesPoolId</a:t>
            </a:r>
            <a:r>
              <a:rPr lang="en-GB" dirty="0"/>
              <a:t> = int2Str(</a:t>
            </a:r>
            <a:r>
              <a:rPr lang="en-GB" dirty="0" err="1"/>
              <a:t>i</a:t>
            </a:r>
            <a:r>
              <a:rPr lang="en-GB" dirty="0"/>
              <a:t>);</a:t>
            </a:r>
          </a:p>
          <a:p>
            <a:pPr marL="0" indent="0">
              <a:buNone/>
            </a:pPr>
            <a:r>
              <a:rPr lang="en-GB" dirty="0"/>
              <a:t>    </a:t>
            </a:r>
            <a:r>
              <a:rPr lang="en-GB" dirty="0" err="1"/>
              <a:t>SalesPool.Name</a:t>
            </a:r>
            <a:r>
              <a:rPr lang="en-GB" dirty="0"/>
              <a:t> = int2Str(</a:t>
            </a:r>
            <a:r>
              <a:rPr lang="en-GB" dirty="0" err="1"/>
              <a:t>i</a:t>
            </a:r>
            <a:r>
              <a:rPr lang="en-GB" dirty="0"/>
              <a:t>);</a:t>
            </a:r>
          </a:p>
          <a:p>
            <a:pPr marL="0" indent="0">
              <a:buNone/>
            </a:pPr>
            <a:r>
              <a:rPr lang="en-GB" dirty="0"/>
              <a:t>    </a:t>
            </a:r>
            <a:r>
              <a:rPr lang="en-GB" dirty="0" err="1"/>
              <a:t>SalesPoolList.add</a:t>
            </a:r>
            <a:r>
              <a:rPr lang="en-GB" dirty="0"/>
              <a:t>(</a:t>
            </a:r>
            <a:r>
              <a:rPr lang="en-GB" dirty="0" err="1"/>
              <a:t>SalesPool</a:t>
            </a:r>
            <a:r>
              <a:rPr lang="en-GB" dirty="0"/>
              <a:t>);</a:t>
            </a:r>
          </a:p>
          <a:p>
            <a:pPr marL="0" indent="0">
              <a:buNone/>
            </a:pPr>
            <a:r>
              <a:rPr lang="en-GB" dirty="0"/>
              <a:t>}</a:t>
            </a:r>
          </a:p>
          <a:p>
            <a:pPr marL="0" indent="0">
              <a:buNone/>
            </a:pPr>
            <a:r>
              <a:rPr lang="en-GB" dirty="0" err="1"/>
              <a:t>SalesPoolList.insertDatabase</a:t>
            </a:r>
            <a:r>
              <a:rPr lang="en-GB" dirty="0"/>
              <a:t>();</a:t>
            </a:r>
          </a:p>
          <a:p>
            <a:pPr marL="0" indent="0">
              <a:buNone/>
            </a:pPr>
            <a:r>
              <a:rPr lang="en-GB" dirty="0" err="1"/>
              <a:t>ttscommit</a:t>
            </a:r>
            <a:r>
              <a:rPr lang="en-GB" dirty="0"/>
              <a:t>;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136C762-DE2C-DC11-1852-26EE83EC1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16" name="Rectángulo redondeado 14">
            <a:extLst>
              <a:ext uri="{FF2B5EF4-FFF2-40B4-BE49-F238E27FC236}">
                <a16:creationId xmlns:a16="http://schemas.microsoft.com/office/drawing/2014/main" id="{258621FD-D7AD-1F5B-F900-8797D08AF268}"/>
              </a:ext>
            </a:extLst>
          </p:cNvPr>
          <p:cNvSpPr/>
          <p:nvPr/>
        </p:nvSpPr>
        <p:spPr>
          <a:xfrm>
            <a:off x="207123" y="215979"/>
            <a:ext cx="9444878" cy="1214125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ángulo 12">
            <a:extLst>
              <a:ext uri="{FF2B5EF4-FFF2-40B4-BE49-F238E27FC236}">
                <a16:creationId xmlns:a16="http://schemas.microsoft.com/office/drawing/2014/main" id="{6D17DC05-C0F9-068A-8B1D-9778D133B98D}"/>
              </a:ext>
            </a:extLst>
          </p:cNvPr>
          <p:cNvSpPr/>
          <p:nvPr/>
        </p:nvSpPr>
        <p:spPr>
          <a:xfrm>
            <a:off x="676534" y="396696"/>
            <a:ext cx="8638916" cy="769441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Code – Better Pattern - Insert</a:t>
            </a:r>
          </a:p>
        </p:txBody>
      </p:sp>
      <p:pic>
        <p:nvPicPr>
          <p:cNvPr id="2" name="Content Placeholder 11" descr="A logo with a black background">
            <a:extLst>
              <a:ext uri="{FF2B5EF4-FFF2-40B4-BE49-F238E27FC236}">
                <a16:creationId xmlns:a16="http://schemas.microsoft.com/office/drawing/2014/main" id="{A90AF2F4-9F5C-7255-B3AF-218C5CE2D02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0916" y="-84227"/>
            <a:ext cx="3751522" cy="2110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783528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AB7A85-CBF8-6D56-9AE5-B6D3E80D0D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group of colorful squares&#10;&#10;Description automatically generated">
            <a:extLst>
              <a:ext uri="{FF2B5EF4-FFF2-40B4-BE49-F238E27FC236}">
                <a16:creationId xmlns:a16="http://schemas.microsoft.com/office/drawing/2014/main" id="{026FAB5D-CB11-4EC4-3B14-59C2B1687A5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87" y="6156644"/>
            <a:ext cx="597947" cy="597947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33BF792-6035-AABE-11F9-5A6DB06CD46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32500" lnSpcReduction="20000"/>
          </a:bodyPr>
          <a:lstStyle/>
          <a:p>
            <a:pPr marL="0" indent="0">
              <a:buNone/>
            </a:pPr>
            <a:r>
              <a:rPr lang="en-GB" dirty="0" err="1"/>
              <a:t>SalesPool</a:t>
            </a:r>
            <a:r>
              <a:rPr lang="en-GB" dirty="0"/>
              <a:t> </a:t>
            </a:r>
            <a:r>
              <a:rPr lang="en-GB" dirty="0" err="1"/>
              <a:t>SalesPool</a:t>
            </a:r>
            <a:r>
              <a:rPr lang="en-GB" dirty="0"/>
              <a:t>;</a:t>
            </a:r>
          </a:p>
          <a:p>
            <a:pPr marL="0" indent="0">
              <a:buNone/>
            </a:pPr>
            <a:r>
              <a:rPr lang="en-GB" dirty="0"/>
              <a:t>var </a:t>
            </a:r>
            <a:r>
              <a:rPr lang="en-GB" dirty="0" err="1"/>
              <a:t>insertObject</a:t>
            </a:r>
            <a:r>
              <a:rPr lang="en-GB" dirty="0"/>
              <a:t> = new </a:t>
            </a:r>
            <a:r>
              <a:rPr lang="en-GB" dirty="0" err="1"/>
              <a:t>SysDaInsertObject</a:t>
            </a:r>
            <a:r>
              <a:rPr lang="en-GB" dirty="0"/>
              <a:t>(</a:t>
            </a:r>
            <a:r>
              <a:rPr lang="en-GB" dirty="0" err="1"/>
              <a:t>SalesPool</a:t>
            </a:r>
            <a:r>
              <a:rPr lang="en-GB" dirty="0"/>
              <a:t>);</a:t>
            </a:r>
          </a:p>
          <a:p>
            <a:pPr marL="0" indent="0">
              <a:buNone/>
            </a:pPr>
            <a:r>
              <a:rPr lang="en-GB" dirty="0" err="1"/>
              <a:t>insertObject.fields</a:t>
            </a:r>
            <a:r>
              <a:rPr lang="en-GB" dirty="0"/>
              <a:t>()</a:t>
            </a:r>
          </a:p>
          <a:p>
            <a:pPr marL="0" indent="0">
              <a:buNone/>
            </a:pPr>
            <a:r>
              <a:rPr lang="en-GB" dirty="0"/>
              <a:t>    .add(</a:t>
            </a:r>
            <a:r>
              <a:rPr lang="en-GB" dirty="0" err="1"/>
              <a:t>fieldStr</a:t>
            </a:r>
            <a:r>
              <a:rPr lang="en-GB" dirty="0"/>
              <a:t>(</a:t>
            </a:r>
            <a:r>
              <a:rPr lang="en-GB" dirty="0" err="1"/>
              <a:t>SalesPool</a:t>
            </a:r>
            <a:r>
              <a:rPr lang="en-GB" dirty="0"/>
              <a:t>, </a:t>
            </a:r>
            <a:r>
              <a:rPr lang="en-GB" dirty="0" err="1"/>
              <a:t>SalesPoolId</a:t>
            </a:r>
            <a:r>
              <a:rPr lang="en-GB" dirty="0"/>
              <a:t>))</a:t>
            </a:r>
          </a:p>
          <a:p>
            <a:pPr marL="0" indent="0">
              <a:buNone/>
            </a:pPr>
            <a:r>
              <a:rPr lang="en-GB" dirty="0"/>
              <a:t>    .add(</a:t>
            </a:r>
            <a:r>
              <a:rPr lang="en-GB" dirty="0" err="1"/>
              <a:t>fieldStr</a:t>
            </a:r>
            <a:r>
              <a:rPr lang="en-GB" dirty="0"/>
              <a:t>(</a:t>
            </a:r>
            <a:r>
              <a:rPr lang="en-GB" dirty="0" err="1"/>
              <a:t>SalesPool</a:t>
            </a:r>
            <a:r>
              <a:rPr lang="en-GB" dirty="0"/>
              <a:t>, Name));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r>
              <a:rPr lang="en-GB" dirty="0" err="1"/>
              <a:t>tmpSalesPool</a:t>
            </a:r>
            <a:r>
              <a:rPr lang="en-GB" dirty="0"/>
              <a:t> source;</a:t>
            </a:r>
          </a:p>
          <a:p>
            <a:pPr marL="0" indent="0">
              <a:buNone/>
            </a:pPr>
            <a:r>
              <a:rPr lang="en-GB" dirty="0"/>
              <a:t>var </a:t>
            </a:r>
            <a:r>
              <a:rPr lang="en-GB" dirty="0" err="1"/>
              <a:t>qe</a:t>
            </a:r>
            <a:r>
              <a:rPr lang="en-GB" dirty="0"/>
              <a:t> = new </a:t>
            </a:r>
            <a:r>
              <a:rPr lang="en-GB" dirty="0" err="1"/>
              <a:t>SysDaQueryObject</a:t>
            </a:r>
            <a:r>
              <a:rPr lang="en-GB" dirty="0"/>
              <a:t>(source);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r>
              <a:rPr lang="en-GB" dirty="0"/>
              <a:t>var s1 = </a:t>
            </a:r>
            <a:r>
              <a:rPr lang="en-GB" dirty="0" err="1"/>
              <a:t>qe.projection</a:t>
            </a:r>
            <a:r>
              <a:rPr lang="en-GB" dirty="0"/>
              <a:t>()</a:t>
            </a:r>
          </a:p>
          <a:p>
            <a:pPr marL="0" indent="0">
              <a:buNone/>
            </a:pPr>
            <a:r>
              <a:rPr lang="en-GB" dirty="0"/>
              <a:t>    .Add(</a:t>
            </a:r>
            <a:r>
              <a:rPr lang="en-GB" dirty="0" err="1"/>
              <a:t>fieldStr</a:t>
            </a:r>
            <a:r>
              <a:rPr lang="en-GB" dirty="0"/>
              <a:t>(</a:t>
            </a:r>
            <a:r>
              <a:rPr lang="en-GB" dirty="0" err="1"/>
              <a:t>tmpSalesPool</a:t>
            </a:r>
            <a:r>
              <a:rPr lang="en-GB" dirty="0"/>
              <a:t>, </a:t>
            </a:r>
            <a:r>
              <a:rPr lang="en-GB" dirty="0" err="1"/>
              <a:t>SalesPoolId</a:t>
            </a:r>
            <a:r>
              <a:rPr lang="en-GB" dirty="0"/>
              <a:t>))</a:t>
            </a:r>
          </a:p>
          <a:p>
            <a:pPr marL="0" indent="0">
              <a:buNone/>
            </a:pPr>
            <a:r>
              <a:rPr lang="en-GB" dirty="0"/>
              <a:t>    .Add(</a:t>
            </a:r>
            <a:r>
              <a:rPr lang="en-GB" dirty="0" err="1"/>
              <a:t>fieldStr</a:t>
            </a:r>
            <a:r>
              <a:rPr lang="en-GB" dirty="0"/>
              <a:t>(</a:t>
            </a:r>
            <a:r>
              <a:rPr lang="en-GB" dirty="0" err="1"/>
              <a:t>tmpSalesPool</a:t>
            </a:r>
            <a:r>
              <a:rPr lang="en-GB" dirty="0"/>
              <a:t>, Name));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r>
              <a:rPr lang="en-GB" dirty="0" err="1"/>
              <a:t>insertObject.query</a:t>
            </a:r>
            <a:r>
              <a:rPr lang="en-GB" dirty="0"/>
              <a:t>(</a:t>
            </a:r>
            <a:r>
              <a:rPr lang="en-GB" dirty="0" err="1"/>
              <a:t>qe</a:t>
            </a:r>
            <a:r>
              <a:rPr lang="en-GB" dirty="0"/>
              <a:t>);</a:t>
            </a:r>
          </a:p>
          <a:p>
            <a:pPr marL="0" indent="0">
              <a:buNone/>
            </a:pPr>
            <a:r>
              <a:rPr lang="en-GB" dirty="0"/>
              <a:t>var </a:t>
            </a:r>
            <a:r>
              <a:rPr lang="en-GB" dirty="0" err="1"/>
              <a:t>insertStmt</a:t>
            </a:r>
            <a:r>
              <a:rPr lang="en-GB" dirty="0"/>
              <a:t> = new </a:t>
            </a:r>
            <a:r>
              <a:rPr lang="en-GB" dirty="0" err="1"/>
              <a:t>SysDaInsertStatement</a:t>
            </a:r>
            <a:r>
              <a:rPr lang="en-GB" dirty="0"/>
              <a:t>();</a:t>
            </a:r>
          </a:p>
          <a:p>
            <a:pPr marL="0" indent="0">
              <a:buNone/>
            </a:pPr>
            <a:r>
              <a:rPr lang="en-GB" dirty="0" err="1"/>
              <a:t>this.startTimer</a:t>
            </a:r>
            <a:r>
              <a:rPr lang="en-GB" dirty="0"/>
              <a:t>();</a:t>
            </a:r>
          </a:p>
          <a:p>
            <a:pPr marL="0" indent="0">
              <a:buNone/>
            </a:pPr>
            <a:r>
              <a:rPr lang="en-GB" dirty="0" err="1"/>
              <a:t>ttsbegin</a:t>
            </a:r>
            <a:r>
              <a:rPr lang="en-GB" dirty="0"/>
              <a:t>;</a:t>
            </a:r>
          </a:p>
          <a:p>
            <a:pPr marL="0" indent="0">
              <a:buNone/>
            </a:pPr>
            <a:r>
              <a:rPr lang="en-GB" dirty="0" err="1"/>
              <a:t>insertStmt.executeQuery</a:t>
            </a:r>
            <a:r>
              <a:rPr lang="en-GB" dirty="0"/>
              <a:t>(</a:t>
            </a:r>
            <a:r>
              <a:rPr lang="en-GB" dirty="0" err="1"/>
              <a:t>insertObject</a:t>
            </a:r>
            <a:r>
              <a:rPr lang="en-GB" dirty="0"/>
              <a:t>);</a:t>
            </a:r>
          </a:p>
          <a:p>
            <a:pPr marL="0" indent="0">
              <a:buNone/>
            </a:pPr>
            <a:r>
              <a:rPr lang="en-GB" dirty="0" err="1"/>
              <a:t>ttscommit</a:t>
            </a:r>
            <a:r>
              <a:rPr lang="en-GB" dirty="0"/>
              <a:t>;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7610117-98D2-7707-EE7B-6138D3E77F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16" name="Rectángulo redondeado 14">
            <a:extLst>
              <a:ext uri="{FF2B5EF4-FFF2-40B4-BE49-F238E27FC236}">
                <a16:creationId xmlns:a16="http://schemas.microsoft.com/office/drawing/2014/main" id="{6747B919-50DA-8CC6-7A7F-43093E5434C6}"/>
              </a:ext>
            </a:extLst>
          </p:cNvPr>
          <p:cNvSpPr/>
          <p:nvPr/>
        </p:nvSpPr>
        <p:spPr>
          <a:xfrm>
            <a:off x="207123" y="215979"/>
            <a:ext cx="9444878" cy="1214125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ángulo 12">
            <a:extLst>
              <a:ext uri="{FF2B5EF4-FFF2-40B4-BE49-F238E27FC236}">
                <a16:creationId xmlns:a16="http://schemas.microsoft.com/office/drawing/2014/main" id="{92539E31-B464-8E15-5CC1-44552763443F}"/>
              </a:ext>
            </a:extLst>
          </p:cNvPr>
          <p:cNvSpPr/>
          <p:nvPr/>
        </p:nvSpPr>
        <p:spPr>
          <a:xfrm>
            <a:off x="676534" y="396696"/>
            <a:ext cx="8638916" cy="769441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Code – Best Pattern - Insert</a:t>
            </a:r>
          </a:p>
        </p:txBody>
      </p:sp>
      <p:pic>
        <p:nvPicPr>
          <p:cNvPr id="2" name="Content Placeholder 11" descr="A logo with a black background">
            <a:extLst>
              <a:ext uri="{FF2B5EF4-FFF2-40B4-BE49-F238E27FC236}">
                <a16:creationId xmlns:a16="http://schemas.microsoft.com/office/drawing/2014/main" id="{7E3EBDB5-D64B-01DF-DD0D-615303530E4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0916" y="-84227"/>
            <a:ext cx="3751522" cy="2110231"/>
          </a:xfrm>
          <a:prstGeom prst="rect">
            <a:avLst/>
          </a:prstGeom>
        </p:spPr>
      </p:pic>
      <p:pic>
        <p:nvPicPr>
          <p:cNvPr id="1026" name="Picture 2" descr="Premium Vector | Caution symbol, icon isolated on white ...">
            <a:extLst>
              <a:ext uri="{FF2B5EF4-FFF2-40B4-BE49-F238E27FC236}">
                <a16:creationId xmlns:a16="http://schemas.microsoft.com/office/drawing/2014/main" id="{E35C7511-AF70-FA77-D192-3D5748B01B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6197" y="2421525"/>
            <a:ext cx="3398278" cy="28771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9344313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graph with blue and white bars&#10;&#10;AI-generated content may be incorrect.">
            <a:extLst>
              <a:ext uri="{FF2B5EF4-FFF2-40B4-BE49-F238E27FC236}">
                <a16:creationId xmlns:a16="http://schemas.microsoft.com/office/drawing/2014/main" id="{C90A0BC4-F307-045B-6764-7C59FFFDA57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94908"/>
            <a:ext cx="12192000" cy="4868184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9EB72B83-A313-2B36-0F7F-613CF6FDAF3D}"/>
              </a:ext>
            </a:extLst>
          </p:cNvPr>
          <p:cNvSpPr/>
          <p:nvPr/>
        </p:nvSpPr>
        <p:spPr>
          <a:xfrm>
            <a:off x="8225389" y="2975114"/>
            <a:ext cx="2252111" cy="2758936"/>
          </a:xfrm>
          <a:prstGeom prst="rect">
            <a:avLst/>
          </a:prstGeom>
          <a:noFill/>
          <a:ln w="19050">
            <a:solidFill>
              <a:srgbClr val="2089D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Worst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A18DE9C-B794-35AB-0A99-82B5BA7641D6}"/>
              </a:ext>
            </a:extLst>
          </p:cNvPr>
          <p:cNvSpPr/>
          <p:nvPr/>
        </p:nvSpPr>
        <p:spPr>
          <a:xfrm>
            <a:off x="1253179" y="2664102"/>
            <a:ext cx="2185346" cy="2992582"/>
          </a:xfrm>
          <a:prstGeom prst="rect">
            <a:avLst/>
          </a:prstGeom>
          <a:noFill/>
          <a:ln w="19050">
            <a:solidFill>
              <a:srgbClr val="2089D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Good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1A415F5-487C-3619-9B24-82A2527CCF1A}"/>
              </a:ext>
            </a:extLst>
          </p:cNvPr>
          <p:cNvSpPr/>
          <p:nvPr/>
        </p:nvSpPr>
        <p:spPr>
          <a:xfrm>
            <a:off x="4277277" y="1790700"/>
            <a:ext cx="1913973" cy="3943350"/>
          </a:xfrm>
          <a:prstGeom prst="rect">
            <a:avLst/>
          </a:prstGeom>
          <a:noFill/>
          <a:ln w="19050">
            <a:solidFill>
              <a:srgbClr val="2089D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Better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C70E506-8EC4-9DE6-7E04-70CEFEC8BF55}"/>
              </a:ext>
            </a:extLst>
          </p:cNvPr>
          <p:cNvSpPr/>
          <p:nvPr/>
        </p:nvSpPr>
        <p:spPr>
          <a:xfrm>
            <a:off x="10478178" y="1133475"/>
            <a:ext cx="827998" cy="4600575"/>
          </a:xfrm>
          <a:prstGeom prst="rect">
            <a:avLst/>
          </a:prstGeom>
          <a:noFill/>
          <a:ln w="19050">
            <a:solidFill>
              <a:srgbClr val="2089D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Best</a:t>
            </a:r>
          </a:p>
        </p:txBody>
      </p:sp>
      <p:sp>
        <p:nvSpPr>
          <p:cNvPr id="17" name="Arrow: Down 16">
            <a:extLst>
              <a:ext uri="{FF2B5EF4-FFF2-40B4-BE49-F238E27FC236}">
                <a16:creationId xmlns:a16="http://schemas.microsoft.com/office/drawing/2014/main" id="{13296748-2BB7-4494-5B2F-35B6AA238827}"/>
              </a:ext>
            </a:extLst>
          </p:cNvPr>
          <p:cNvSpPr/>
          <p:nvPr/>
        </p:nvSpPr>
        <p:spPr>
          <a:xfrm>
            <a:off x="367355" y="361950"/>
            <a:ext cx="885824" cy="1571625"/>
          </a:xfrm>
          <a:prstGeom prst="down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en-US" dirty="0"/>
              <a:t>Select Into</a:t>
            </a:r>
          </a:p>
        </p:txBody>
      </p:sp>
      <p:sp>
        <p:nvSpPr>
          <p:cNvPr id="18" name="Arrow: Down 17">
            <a:extLst>
              <a:ext uri="{FF2B5EF4-FFF2-40B4-BE49-F238E27FC236}">
                <a16:creationId xmlns:a16="http://schemas.microsoft.com/office/drawing/2014/main" id="{4699B6A6-D33A-06F0-5666-D1AC0EFFFED9}"/>
              </a:ext>
            </a:extLst>
          </p:cNvPr>
          <p:cNvSpPr/>
          <p:nvPr/>
        </p:nvSpPr>
        <p:spPr>
          <a:xfrm>
            <a:off x="3391453" y="337683"/>
            <a:ext cx="885824" cy="1571625"/>
          </a:xfrm>
          <a:prstGeom prst="down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en-US" dirty="0"/>
              <a:t>Select Into</a:t>
            </a:r>
          </a:p>
        </p:txBody>
      </p:sp>
    </p:spTree>
    <p:extLst>
      <p:ext uri="{BB962C8B-B14F-4D97-AF65-F5344CB8AC3E}">
        <p14:creationId xmlns:p14="http://schemas.microsoft.com/office/powerpoint/2010/main" val="15984153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screenshot of a graph&#10;&#10;AI-generated content may be incorrect.">
            <a:extLst>
              <a:ext uri="{FF2B5EF4-FFF2-40B4-BE49-F238E27FC236}">
                <a16:creationId xmlns:a16="http://schemas.microsoft.com/office/drawing/2014/main" id="{A998C165-90DE-28A1-5D1A-6477EA10665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94908"/>
            <a:ext cx="12192000" cy="4868184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F890E4BC-0413-2DD2-DC89-C27AE60C402A}"/>
              </a:ext>
            </a:extLst>
          </p:cNvPr>
          <p:cNvSpPr/>
          <p:nvPr/>
        </p:nvSpPr>
        <p:spPr>
          <a:xfrm>
            <a:off x="6045201" y="2317750"/>
            <a:ext cx="5753100" cy="3416300"/>
          </a:xfrm>
          <a:prstGeom prst="rect">
            <a:avLst/>
          </a:prstGeom>
          <a:noFill/>
          <a:ln w="19050">
            <a:solidFill>
              <a:srgbClr val="2089D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Worst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FC42CA6-30B8-58D0-B5DC-5CD7420C090A}"/>
              </a:ext>
            </a:extLst>
          </p:cNvPr>
          <p:cNvSpPr/>
          <p:nvPr/>
        </p:nvSpPr>
        <p:spPr>
          <a:xfrm>
            <a:off x="393699" y="1492250"/>
            <a:ext cx="5651502" cy="4164434"/>
          </a:xfrm>
          <a:prstGeom prst="rect">
            <a:avLst/>
          </a:prstGeom>
          <a:noFill/>
          <a:ln w="19050">
            <a:solidFill>
              <a:srgbClr val="2089D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Good</a:t>
            </a:r>
          </a:p>
        </p:txBody>
      </p:sp>
    </p:spTree>
    <p:extLst>
      <p:ext uri="{BB962C8B-B14F-4D97-AF65-F5344CB8AC3E}">
        <p14:creationId xmlns:p14="http://schemas.microsoft.com/office/powerpoint/2010/main" val="14341657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3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9D61AE8-F0CB-E0BF-996D-248308D0958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group of colorful squares&#10;&#10;Description automatically generated">
            <a:extLst>
              <a:ext uri="{FF2B5EF4-FFF2-40B4-BE49-F238E27FC236}">
                <a16:creationId xmlns:a16="http://schemas.microsoft.com/office/drawing/2014/main" id="{E780BA93-FCBD-C79B-35DB-5863FFCB239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87" y="6156644"/>
            <a:ext cx="597947" cy="597947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11E907-EBDC-4C07-5C2D-F323839BB6A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dirty="0"/>
              <a:t>while select </a:t>
            </a:r>
            <a:r>
              <a:rPr lang="en-GB" dirty="0" err="1"/>
              <a:t>forupdate</a:t>
            </a:r>
            <a:r>
              <a:rPr lang="en-GB" dirty="0"/>
              <a:t> * from </a:t>
            </a:r>
            <a:r>
              <a:rPr lang="en-GB" dirty="0" err="1"/>
              <a:t>SalesPool</a:t>
            </a:r>
            <a:endParaRPr lang="en-GB" dirty="0"/>
          </a:p>
          <a:p>
            <a:pPr marL="0" indent="0">
              <a:buNone/>
            </a:pPr>
            <a:r>
              <a:rPr lang="en-GB" dirty="0"/>
              <a:t>{</a:t>
            </a:r>
          </a:p>
          <a:p>
            <a:pPr marL="0" indent="0">
              <a:buNone/>
            </a:pPr>
            <a:r>
              <a:rPr lang="en-GB" dirty="0"/>
              <a:t>    </a:t>
            </a:r>
            <a:r>
              <a:rPr lang="en-GB" dirty="0" err="1"/>
              <a:t>ttsbegin</a:t>
            </a:r>
            <a:r>
              <a:rPr lang="en-GB" dirty="0"/>
              <a:t>;</a:t>
            </a:r>
          </a:p>
          <a:p>
            <a:pPr marL="0" indent="0">
              <a:buNone/>
            </a:pPr>
            <a:r>
              <a:rPr lang="en-GB" dirty="0"/>
              <a:t>    </a:t>
            </a:r>
            <a:r>
              <a:rPr lang="en-GB" dirty="0" err="1"/>
              <a:t>SalesPool.Name</a:t>
            </a:r>
            <a:r>
              <a:rPr lang="en-GB" dirty="0"/>
              <a:t> = int2Str(new Random().</a:t>
            </a:r>
            <a:r>
              <a:rPr lang="en-GB" dirty="0" err="1"/>
              <a:t>nextInt</a:t>
            </a:r>
            <a:r>
              <a:rPr lang="en-GB" dirty="0"/>
              <a:t>());</a:t>
            </a:r>
          </a:p>
          <a:p>
            <a:pPr marL="0" indent="0">
              <a:buNone/>
            </a:pPr>
            <a:r>
              <a:rPr lang="en-GB" dirty="0"/>
              <a:t>    </a:t>
            </a:r>
            <a:r>
              <a:rPr lang="en-GB" dirty="0" err="1"/>
              <a:t>SalesPool.Update</a:t>
            </a:r>
            <a:r>
              <a:rPr lang="en-GB" dirty="0"/>
              <a:t>();</a:t>
            </a:r>
          </a:p>
          <a:p>
            <a:pPr marL="0" indent="0">
              <a:buNone/>
            </a:pPr>
            <a:r>
              <a:rPr lang="en-GB" dirty="0"/>
              <a:t>    </a:t>
            </a:r>
            <a:r>
              <a:rPr lang="en-GB" dirty="0" err="1"/>
              <a:t>ttscommit</a:t>
            </a:r>
            <a:r>
              <a:rPr lang="en-GB" dirty="0"/>
              <a:t>;</a:t>
            </a:r>
          </a:p>
          <a:p>
            <a:pPr marL="0" indent="0">
              <a:buNone/>
            </a:pPr>
            <a:r>
              <a:rPr lang="en-GB" dirty="0"/>
              <a:t>}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7D05839-6526-5931-220D-877F8BD44C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16" name="Rectángulo redondeado 14">
            <a:extLst>
              <a:ext uri="{FF2B5EF4-FFF2-40B4-BE49-F238E27FC236}">
                <a16:creationId xmlns:a16="http://schemas.microsoft.com/office/drawing/2014/main" id="{FE0B93D8-AC9E-2F99-2CBB-6DCA61528D7B}"/>
              </a:ext>
            </a:extLst>
          </p:cNvPr>
          <p:cNvSpPr/>
          <p:nvPr/>
        </p:nvSpPr>
        <p:spPr>
          <a:xfrm>
            <a:off x="207123" y="215979"/>
            <a:ext cx="9444878" cy="1214125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ángulo 12">
            <a:extLst>
              <a:ext uri="{FF2B5EF4-FFF2-40B4-BE49-F238E27FC236}">
                <a16:creationId xmlns:a16="http://schemas.microsoft.com/office/drawing/2014/main" id="{786612B2-20D6-DBB1-FA80-F8901024E602}"/>
              </a:ext>
            </a:extLst>
          </p:cNvPr>
          <p:cNvSpPr/>
          <p:nvPr/>
        </p:nvSpPr>
        <p:spPr>
          <a:xfrm>
            <a:off x="676534" y="396696"/>
            <a:ext cx="8715116" cy="769441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Code – Bad Pattern - Update</a:t>
            </a:r>
          </a:p>
        </p:txBody>
      </p:sp>
      <p:pic>
        <p:nvPicPr>
          <p:cNvPr id="2" name="Content Placeholder 11" descr="A logo with a black background">
            <a:extLst>
              <a:ext uri="{FF2B5EF4-FFF2-40B4-BE49-F238E27FC236}">
                <a16:creationId xmlns:a16="http://schemas.microsoft.com/office/drawing/2014/main" id="{F8939F8A-AB9D-4212-07F3-7A91C361D59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0916" y="-84227"/>
            <a:ext cx="3751522" cy="2110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513886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BC062F-5A58-B302-662B-061AD030BD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group of colorful squares&#10;&#10;Description automatically generated">
            <a:extLst>
              <a:ext uri="{FF2B5EF4-FFF2-40B4-BE49-F238E27FC236}">
                <a16:creationId xmlns:a16="http://schemas.microsoft.com/office/drawing/2014/main" id="{B453823D-3CF3-91BE-AC1F-B2A45AE3DD4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87" y="6156644"/>
            <a:ext cx="597947" cy="597947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24B4CDD-AE97-D3A4-3AC6-0613BD59399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dirty="0" err="1"/>
              <a:t>ttsbegin</a:t>
            </a:r>
            <a:r>
              <a:rPr lang="en-GB" dirty="0"/>
              <a:t>;</a:t>
            </a:r>
          </a:p>
          <a:p>
            <a:pPr marL="0" indent="0">
              <a:buNone/>
            </a:pPr>
            <a:r>
              <a:rPr lang="en-GB" dirty="0"/>
              <a:t>while select </a:t>
            </a:r>
            <a:r>
              <a:rPr lang="en-GB" dirty="0" err="1"/>
              <a:t>forupdate</a:t>
            </a:r>
            <a:r>
              <a:rPr lang="en-GB" dirty="0"/>
              <a:t> * from </a:t>
            </a:r>
            <a:r>
              <a:rPr lang="en-GB" dirty="0" err="1"/>
              <a:t>SalesPool</a:t>
            </a:r>
            <a:endParaRPr lang="en-GB" dirty="0"/>
          </a:p>
          <a:p>
            <a:pPr marL="0" indent="0">
              <a:buNone/>
            </a:pPr>
            <a:r>
              <a:rPr lang="en-GB" dirty="0"/>
              <a:t>{</a:t>
            </a:r>
          </a:p>
          <a:p>
            <a:pPr marL="0" indent="0">
              <a:buNone/>
            </a:pPr>
            <a:r>
              <a:rPr lang="en-GB" dirty="0"/>
              <a:t>    </a:t>
            </a:r>
            <a:r>
              <a:rPr lang="en-GB" dirty="0" err="1"/>
              <a:t>SalesPool.Name</a:t>
            </a:r>
            <a:r>
              <a:rPr lang="en-GB" dirty="0"/>
              <a:t> = int2Str(new Random().</a:t>
            </a:r>
            <a:r>
              <a:rPr lang="en-GB" dirty="0" err="1"/>
              <a:t>nextInt</a:t>
            </a:r>
            <a:r>
              <a:rPr lang="en-GB" dirty="0"/>
              <a:t>());</a:t>
            </a:r>
          </a:p>
          <a:p>
            <a:pPr marL="0" indent="0">
              <a:buNone/>
            </a:pPr>
            <a:r>
              <a:rPr lang="en-GB" dirty="0"/>
              <a:t>    </a:t>
            </a:r>
            <a:r>
              <a:rPr lang="en-GB" dirty="0" err="1"/>
              <a:t>SalesPool.Update</a:t>
            </a:r>
            <a:r>
              <a:rPr lang="en-GB" dirty="0"/>
              <a:t>();</a:t>
            </a:r>
          </a:p>
          <a:p>
            <a:pPr marL="0" indent="0">
              <a:buNone/>
            </a:pPr>
            <a:r>
              <a:rPr lang="en-GB" dirty="0"/>
              <a:t>}</a:t>
            </a:r>
          </a:p>
          <a:p>
            <a:pPr marL="0" indent="0">
              <a:buNone/>
            </a:pPr>
            <a:r>
              <a:rPr lang="en-GB" dirty="0" err="1"/>
              <a:t>ttscommit</a:t>
            </a:r>
            <a:r>
              <a:rPr lang="en-GB" dirty="0"/>
              <a:t>;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30927E8-158B-EA72-85B2-502AB48C0F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16" name="Rectángulo redondeado 14">
            <a:extLst>
              <a:ext uri="{FF2B5EF4-FFF2-40B4-BE49-F238E27FC236}">
                <a16:creationId xmlns:a16="http://schemas.microsoft.com/office/drawing/2014/main" id="{6F859427-4CF9-95D3-6A0D-071ADB583D80}"/>
              </a:ext>
            </a:extLst>
          </p:cNvPr>
          <p:cNvSpPr/>
          <p:nvPr/>
        </p:nvSpPr>
        <p:spPr>
          <a:xfrm>
            <a:off x="207123" y="215979"/>
            <a:ext cx="9444878" cy="1214125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ángulo 12">
            <a:extLst>
              <a:ext uri="{FF2B5EF4-FFF2-40B4-BE49-F238E27FC236}">
                <a16:creationId xmlns:a16="http://schemas.microsoft.com/office/drawing/2014/main" id="{DBC92EEF-664E-D102-E87B-6E14A8835C37}"/>
              </a:ext>
            </a:extLst>
          </p:cNvPr>
          <p:cNvSpPr/>
          <p:nvPr/>
        </p:nvSpPr>
        <p:spPr>
          <a:xfrm>
            <a:off x="676534" y="396696"/>
            <a:ext cx="8638916" cy="769441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Code – Good Pattern - Update</a:t>
            </a:r>
          </a:p>
        </p:txBody>
      </p:sp>
      <p:pic>
        <p:nvPicPr>
          <p:cNvPr id="2" name="Content Placeholder 11" descr="A logo with a black background">
            <a:extLst>
              <a:ext uri="{FF2B5EF4-FFF2-40B4-BE49-F238E27FC236}">
                <a16:creationId xmlns:a16="http://schemas.microsoft.com/office/drawing/2014/main" id="{2EE76E28-2A8B-ED90-837B-35E3F2AC2C2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0916" y="-84227"/>
            <a:ext cx="3751522" cy="2110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885535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B6031AF-E108-7AF3-7BF1-50EA163C48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group of colorful squares&#10;&#10;Description automatically generated">
            <a:extLst>
              <a:ext uri="{FF2B5EF4-FFF2-40B4-BE49-F238E27FC236}">
                <a16:creationId xmlns:a16="http://schemas.microsoft.com/office/drawing/2014/main" id="{518E843D-3F1D-AA2C-69FD-BA880F9D01A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87" y="6156644"/>
            <a:ext cx="597947" cy="597947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C3195F-F5C3-F442-60DC-DD8F11A42B7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GB" dirty="0" err="1"/>
              <a:t>ttsbegin</a:t>
            </a:r>
            <a:r>
              <a:rPr lang="en-GB" dirty="0"/>
              <a:t>;</a:t>
            </a:r>
          </a:p>
          <a:p>
            <a:pPr marL="0" indent="0">
              <a:buNone/>
            </a:pPr>
            <a:r>
              <a:rPr lang="en-GB" dirty="0" err="1"/>
              <a:t>update_recordset</a:t>
            </a:r>
            <a:r>
              <a:rPr lang="en-GB" dirty="0"/>
              <a:t> </a:t>
            </a:r>
            <a:r>
              <a:rPr lang="en-GB" dirty="0" err="1"/>
              <a:t>CustTable</a:t>
            </a:r>
            <a:endParaRPr lang="en-GB" dirty="0"/>
          </a:p>
          <a:p>
            <a:pPr marL="0" indent="0">
              <a:buNone/>
            </a:pPr>
            <a:r>
              <a:rPr lang="en-GB" dirty="0"/>
              <a:t>    setting </a:t>
            </a:r>
            <a:r>
              <a:rPr lang="en-GB" dirty="0" err="1"/>
              <a:t>CreditMax</a:t>
            </a:r>
            <a:r>
              <a:rPr lang="en-GB" dirty="0"/>
              <a:t> = new Random().</a:t>
            </a:r>
            <a:r>
              <a:rPr lang="en-GB" dirty="0" err="1"/>
              <a:t>nextInt</a:t>
            </a:r>
            <a:r>
              <a:rPr lang="en-GB" dirty="0"/>
              <a:t>()</a:t>
            </a:r>
          </a:p>
          <a:p>
            <a:pPr marL="0" indent="0">
              <a:buNone/>
            </a:pPr>
            <a:r>
              <a:rPr lang="en-GB" dirty="0"/>
              <a:t>    where </a:t>
            </a:r>
            <a:r>
              <a:rPr lang="en-GB" dirty="0" err="1"/>
              <a:t>CustTable.CreditMax</a:t>
            </a:r>
            <a:r>
              <a:rPr lang="en-GB" dirty="0"/>
              <a:t> == </a:t>
            </a:r>
            <a:r>
              <a:rPr lang="en-GB" dirty="0" err="1"/>
              <a:t>someValue</a:t>
            </a:r>
            <a:r>
              <a:rPr lang="en-GB" dirty="0"/>
              <a:t>;</a:t>
            </a:r>
          </a:p>
          <a:p>
            <a:pPr marL="0" indent="0">
              <a:buNone/>
            </a:pPr>
            <a:r>
              <a:rPr lang="en-GB" dirty="0" err="1"/>
              <a:t>ttscommit</a:t>
            </a:r>
            <a:r>
              <a:rPr lang="en-GB" dirty="0"/>
              <a:t>;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67EAAA5-3A4A-F394-5020-7DD31AD859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16" name="Rectángulo redondeado 14">
            <a:extLst>
              <a:ext uri="{FF2B5EF4-FFF2-40B4-BE49-F238E27FC236}">
                <a16:creationId xmlns:a16="http://schemas.microsoft.com/office/drawing/2014/main" id="{1F46FCB4-2FE3-7759-BF30-127F94F83328}"/>
              </a:ext>
            </a:extLst>
          </p:cNvPr>
          <p:cNvSpPr/>
          <p:nvPr/>
        </p:nvSpPr>
        <p:spPr>
          <a:xfrm>
            <a:off x="207123" y="215979"/>
            <a:ext cx="9444878" cy="1214125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ángulo 12">
            <a:extLst>
              <a:ext uri="{FF2B5EF4-FFF2-40B4-BE49-F238E27FC236}">
                <a16:creationId xmlns:a16="http://schemas.microsoft.com/office/drawing/2014/main" id="{1CB95488-49A7-8EA1-086C-6A98A4AEC2B8}"/>
              </a:ext>
            </a:extLst>
          </p:cNvPr>
          <p:cNvSpPr/>
          <p:nvPr/>
        </p:nvSpPr>
        <p:spPr>
          <a:xfrm>
            <a:off x="676534" y="396696"/>
            <a:ext cx="8638916" cy="769441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Code – Better Pattern - Update</a:t>
            </a:r>
          </a:p>
        </p:txBody>
      </p:sp>
      <p:pic>
        <p:nvPicPr>
          <p:cNvPr id="2" name="Content Placeholder 11" descr="A logo with a black background">
            <a:extLst>
              <a:ext uri="{FF2B5EF4-FFF2-40B4-BE49-F238E27FC236}">
                <a16:creationId xmlns:a16="http://schemas.microsoft.com/office/drawing/2014/main" id="{D3E1DA48-297A-C224-6A97-6717E645C80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0916" y="-84227"/>
            <a:ext cx="3751522" cy="2110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398692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E51C57-F269-5C45-3BE4-E9E8011178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group of colorful squares&#10;&#10;Description automatically generated">
            <a:extLst>
              <a:ext uri="{FF2B5EF4-FFF2-40B4-BE49-F238E27FC236}">
                <a16:creationId xmlns:a16="http://schemas.microsoft.com/office/drawing/2014/main" id="{F495B84D-6CF3-3596-A5E5-AAD54D6E7D7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87" y="6156644"/>
            <a:ext cx="597947" cy="597947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21C0D83-E0AB-2E04-0AA0-1A2BEC20FB7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55000" lnSpcReduction="20000"/>
          </a:bodyPr>
          <a:lstStyle/>
          <a:p>
            <a:pPr marL="0" indent="0">
              <a:buNone/>
            </a:pPr>
            <a:r>
              <a:rPr lang="en-GB" dirty="0"/>
              <a:t>var </a:t>
            </a:r>
            <a:r>
              <a:rPr lang="en-GB" dirty="0" err="1"/>
              <a:t>updateObject</a:t>
            </a:r>
            <a:r>
              <a:rPr lang="en-GB" dirty="0"/>
              <a:t> = new </a:t>
            </a:r>
            <a:r>
              <a:rPr lang="en-GB" dirty="0" err="1"/>
              <a:t>SysDaUpdateObject</a:t>
            </a:r>
            <a:r>
              <a:rPr lang="en-GB" dirty="0"/>
              <a:t>(</a:t>
            </a:r>
            <a:r>
              <a:rPr lang="en-GB" dirty="0" err="1"/>
              <a:t>CustTable</a:t>
            </a:r>
            <a:r>
              <a:rPr lang="en-GB" dirty="0"/>
              <a:t>);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r>
              <a:rPr lang="en-GB" dirty="0" err="1"/>
              <a:t>updateObject.settingClause</a:t>
            </a:r>
            <a:r>
              <a:rPr lang="en-GB" dirty="0"/>
              <a:t>()</a:t>
            </a:r>
          </a:p>
          <a:p>
            <a:pPr marL="0" indent="0">
              <a:buNone/>
            </a:pPr>
            <a:r>
              <a:rPr lang="en-GB" dirty="0"/>
              <a:t>    .add(</a:t>
            </a:r>
            <a:r>
              <a:rPr lang="en-GB" dirty="0" err="1"/>
              <a:t>fieldStr</a:t>
            </a:r>
            <a:r>
              <a:rPr lang="en-GB" dirty="0"/>
              <a:t>(</a:t>
            </a:r>
            <a:r>
              <a:rPr lang="en-GB" dirty="0" err="1"/>
              <a:t>CustTable</a:t>
            </a:r>
            <a:r>
              <a:rPr lang="en-GB" dirty="0"/>
              <a:t>, </a:t>
            </a:r>
            <a:r>
              <a:rPr lang="en-GB" dirty="0" err="1"/>
              <a:t>CreditMax</a:t>
            </a:r>
            <a:r>
              <a:rPr lang="en-GB" dirty="0"/>
              <a:t>), new </a:t>
            </a:r>
            <a:r>
              <a:rPr lang="en-GB" dirty="0" err="1"/>
              <a:t>SysDaValueExpression</a:t>
            </a:r>
            <a:r>
              <a:rPr lang="en-GB" dirty="0"/>
              <a:t>(new Random().</a:t>
            </a:r>
            <a:r>
              <a:rPr lang="en-GB" dirty="0" err="1"/>
              <a:t>nextInt</a:t>
            </a:r>
            <a:r>
              <a:rPr lang="en-GB" dirty="0"/>
              <a:t>()));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r>
              <a:rPr lang="en-GB" dirty="0" err="1"/>
              <a:t>updateObject.whereClause</a:t>
            </a:r>
            <a:r>
              <a:rPr lang="en-GB" dirty="0"/>
              <a:t>(</a:t>
            </a:r>
          </a:p>
          <a:p>
            <a:pPr marL="0" indent="0">
              <a:buNone/>
            </a:pPr>
            <a:r>
              <a:rPr lang="en-GB" dirty="0"/>
              <a:t>    new </a:t>
            </a:r>
            <a:r>
              <a:rPr lang="en-GB" dirty="0" err="1"/>
              <a:t>SysDaEqualsExpression</a:t>
            </a:r>
            <a:r>
              <a:rPr lang="en-GB" dirty="0"/>
              <a:t>(</a:t>
            </a:r>
          </a:p>
          <a:p>
            <a:pPr marL="0" indent="0">
              <a:buNone/>
            </a:pPr>
            <a:r>
              <a:rPr lang="en-GB" dirty="0"/>
              <a:t>        new </a:t>
            </a:r>
            <a:r>
              <a:rPr lang="en-GB" dirty="0" err="1"/>
              <a:t>SysDaFieldExpression</a:t>
            </a:r>
            <a:r>
              <a:rPr lang="en-GB" dirty="0"/>
              <a:t>(</a:t>
            </a:r>
            <a:r>
              <a:rPr lang="en-GB" dirty="0" err="1"/>
              <a:t>CustTable</a:t>
            </a:r>
            <a:r>
              <a:rPr lang="en-GB" dirty="0"/>
              <a:t>, </a:t>
            </a:r>
            <a:r>
              <a:rPr lang="en-GB" dirty="0" err="1"/>
              <a:t>fieldStr</a:t>
            </a:r>
            <a:r>
              <a:rPr lang="en-GB" dirty="0"/>
              <a:t>(</a:t>
            </a:r>
            <a:r>
              <a:rPr lang="en-GB" dirty="0" err="1"/>
              <a:t>CustTable</a:t>
            </a:r>
            <a:r>
              <a:rPr lang="en-GB" dirty="0"/>
              <a:t>, </a:t>
            </a:r>
            <a:r>
              <a:rPr lang="en-GB" dirty="0" err="1"/>
              <a:t>CreditMax</a:t>
            </a:r>
            <a:r>
              <a:rPr lang="en-GB" dirty="0"/>
              <a:t>)), </a:t>
            </a:r>
          </a:p>
          <a:p>
            <a:pPr marL="0" indent="0">
              <a:buNone/>
            </a:pPr>
            <a:r>
              <a:rPr lang="en-GB" dirty="0"/>
              <a:t>        new </a:t>
            </a:r>
            <a:r>
              <a:rPr lang="en-GB" dirty="0" err="1"/>
              <a:t>SysDaValueExpression</a:t>
            </a:r>
            <a:r>
              <a:rPr lang="en-GB" dirty="0"/>
              <a:t>(sentinel)</a:t>
            </a:r>
          </a:p>
          <a:p>
            <a:pPr marL="0" indent="0">
              <a:buNone/>
            </a:pPr>
            <a:r>
              <a:rPr lang="en-GB" dirty="0"/>
              <a:t>        )</a:t>
            </a:r>
          </a:p>
          <a:p>
            <a:pPr marL="0" indent="0">
              <a:buNone/>
            </a:pPr>
            <a:r>
              <a:rPr lang="en-GB" dirty="0"/>
              <a:t>    );</a:t>
            </a:r>
          </a:p>
          <a:p>
            <a:pPr marL="0" indent="0">
              <a:buNone/>
            </a:pPr>
            <a:r>
              <a:rPr lang="en-GB" dirty="0"/>
              <a:t>var </a:t>
            </a:r>
            <a:r>
              <a:rPr lang="en-GB" dirty="0" err="1"/>
              <a:t>updateStmt</a:t>
            </a:r>
            <a:r>
              <a:rPr lang="en-GB" dirty="0"/>
              <a:t> = new </a:t>
            </a:r>
            <a:r>
              <a:rPr lang="en-GB" dirty="0" err="1"/>
              <a:t>SysDaUpdateStatement</a:t>
            </a:r>
            <a:r>
              <a:rPr lang="en-GB" dirty="0"/>
              <a:t>();</a:t>
            </a:r>
          </a:p>
          <a:p>
            <a:pPr marL="0" indent="0">
              <a:buNone/>
            </a:pPr>
            <a:r>
              <a:rPr lang="en-GB" dirty="0" err="1"/>
              <a:t>ttsbegin</a:t>
            </a:r>
            <a:r>
              <a:rPr lang="en-GB" dirty="0"/>
              <a:t>;</a:t>
            </a:r>
          </a:p>
          <a:p>
            <a:pPr marL="0" indent="0">
              <a:buNone/>
            </a:pPr>
            <a:r>
              <a:rPr lang="en-GB" dirty="0" err="1"/>
              <a:t>updateStmt.update</a:t>
            </a:r>
            <a:r>
              <a:rPr lang="en-GB" dirty="0"/>
              <a:t>(</a:t>
            </a:r>
            <a:r>
              <a:rPr lang="en-GB" dirty="0" err="1"/>
              <a:t>updateObject</a:t>
            </a:r>
            <a:r>
              <a:rPr lang="en-GB" dirty="0"/>
              <a:t>);</a:t>
            </a:r>
          </a:p>
          <a:p>
            <a:pPr marL="0" indent="0">
              <a:buNone/>
            </a:pPr>
            <a:r>
              <a:rPr lang="en-GB" dirty="0" err="1"/>
              <a:t>ttscommit</a:t>
            </a:r>
            <a:r>
              <a:rPr lang="en-GB" dirty="0"/>
              <a:t>;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99DF487-9F73-C8F2-3A56-3108D78D93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16" name="Rectángulo redondeado 14">
            <a:extLst>
              <a:ext uri="{FF2B5EF4-FFF2-40B4-BE49-F238E27FC236}">
                <a16:creationId xmlns:a16="http://schemas.microsoft.com/office/drawing/2014/main" id="{1557E16A-FE6D-2277-C2EC-5B9622CAE1FA}"/>
              </a:ext>
            </a:extLst>
          </p:cNvPr>
          <p:cNvSpPr/>
          <p:nvPr/>
        </p:nvSpPr>
        <p:spPr>
          <a:xfrm>
            <a:off x="207123" y="215979"/>
            <a:ext cx="9444878" cy="1214125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ángulo 12">
            <a:extLst>
              <a:ext uri="{FF2B5EF4-FFF2-40B4-BE49-F238E27FC236}">
                <a16:creationId xmlns:a16="http://schemas.microsoft.com/office/drawing/2014/main" id="{0AF95BFE-2D96-AF5A-2151-E98C9808052D}"/>
              </a:ext>
            </a:extLst>
          </p:cNvPr>
          <p:cNvSpPr/>
          <p:nvPr/>
        </p:nvSpPr>
        <p:spPr>
          <a:xfrm>
            <a:off x="676534" y="396696"/>
            <a:ext cx="8638916" cy="769441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Code – Best Pattern - Update</a:t>
            </a:r>
          </a:p>
        </p:txBody>
      </p:sp>
      <p:pic>
        <p:nvPicPr>
          <p:cNvPr id="2" name="Content Placeholder 11" descr="A logo with a black background">
            <a:extLst>
              <a:ext uri="{FF2B5EF4-FFF2-40B4-BE49-F238E27FC236}">
                <a16:creationId xmlns:a16="http://schemas.microsoft.com/office/drawing/2014/main" id="{9FD66458-9344-350B-A6D2-9E1FF5B97DF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0916" y="-84227"/>
            <a:ext cx="3751522" cy="2110231"/>
          </a:xfrm>
          <a:prstGeom prst="rect">
            <a:avLst/>
          </a:prstGeom>
        </p:spPr>
      </p:pic>
      <p:pic>
        <p:nvPicPr>
          <p:cNvPr id="5" name="Picture 2" descr="Premium Vector | Caution symbol, icon isolated on white ...">
            <a:extLst>
              <a:ext uri="{FF2B5EF4-FFF2-40B4-BE49-F238E27FC236}">
                <a16:creationId xmlns:a16="http://schemas.microsoft.com/office/drawing/2014/main" id="{20BB430A-EB47-EF11-0CD2-C70BAF7A3D3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92097" y="2326210"/>
            <a:ext cx="3398278" cy="28771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5852895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graph with blue and white lines&#10;&#10;AI-generated content may be incorrect.">
            <a:extLst>
              <a:ext uri="{FF2B5EF4-FFF2-40B4-BE49-F238E27FC236}">
                <a16:creationId xmlns:a16="http://schemas.microsoft.com/office/drawing/2014/main" id="{2A2BFBEA-4CF6-C331-4A4E-BC13F9E5910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9355" y="0"/>
            <a:ext cx="11591907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12E646E7-A1DD-E0A1-9824-7DC3D8FB3351}"/>
              </a:ext>
            </a:extLst>
          </p:cNvPr>
          <p:cNvSpPr/>
          <p:nvPr/>
        </p:nvSpPr>
        <p:spPr>
          <a:xfrm>
            <a:off x="3524926" y="3655592"/>
            <a:ext cx="2571073" cy="2992582"/>
          </a:xfrm>
          <a:prstGeom prst="rect">
            <a:avLst/>
          </a:prstGeom>
          <a:noFill/>
          <a:ln w="19050">
            <a:solidFill>
              <a:srgbClr val="2089D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Worst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EBB4AEC-641F-AF84-9604-6FA118307348}"/>
              </a:ext>
            </a:extLst>
          </p:cNvPr>
          <p:cNvSpPr/>
          <p:nvPr/>
        </p:nvSpPr>
        <p:spPr>
          <a:xfrm>
            <a:off x="691604" y="3582705"/>
            <a:ext cx="2681074" cy="2992582"/>
          </a:xfrm>
          <a:prstGeom prst="rect">
            <a:avLst/>
          </a:prstGeom>
          <a:noFill/>
          <a:ln w="19050">
            <a:solidFill>
              <a:srgbClr val="2089D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Good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B36D666-4F35-BF1E-5C08-556FB00A9150}"/>
              </a:ext>
            </a:extLst>
          </p:cNvPr>
          <p:cNvSpPr/>
          <p:nvPr/>
        </p:nvSpPr>
        <p:spPr>
          <a:xfrm>
            <a:off x="8786039" y="742121"/>
            <a:ext cx="2681074" cy="5906051"/>
          </a:xfrm>
          <a:prstGeom prst="rect">
            <a:avLst/>
          </a:prstGeom>
          <a:noFill/>
          <a:ln w="19050">
            <a:solidFill>
              <a:srgbClr val="2089D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Better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8EDF401-58BC-09E9-D940-1F5158645C10}"/>
              </a:ext>
            </a:extLst>
          </p:cNvPr>
          <p:cNvSpPr/>
          <p:nvPr/>
        </p:nvSpPr>
        <p:spPr>
          <a:xfrm>
            <a:off x="6155482" y="604278"/>
            <a:ext cx="2571073" cy="6043895"/>
          </a:xfrm>
          <a:prstGeom prst="rect">
            <a:avLst/>
          </a:prstGeom>
          <a:noFill/>
          <a:ln w="19050">
            <a:solidFill>
              <a:srgbClr val="2089D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Best</a:t>
            </a:r>
          </a:p>
        </p:txBody>
      </p:sp>
    </p:spTree>
    <p:extLst>
      <p:ext uri="{BB962C8B-B14F-4D97-AF65-F5344CB8AC3E}">
        <p14:creationId xmlns:p14="http://schemas.microsoft.com/office/powerpoint/2010/main" val="31571642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11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A50BD54-6EF0-41DB-8B78-7B39792037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98309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3A50BD54-6EF0-41DB-8B78-7B39792037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" name="Group 17">
            <a:extLst>
              <a:ext uri="{FF2B5EF4-FFF2-40B4-BE49-F238E27FC236}">
                <a16:creationId xmlns:a16="http://schemas.microsoft.com/office/drawing/2014/main" id="{A0CD0628-BE93-4E93-89A1-049CA0385C47}"/>
              </a:ext>
            </a:extLst>
          </p:cNvPr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BCF390EA-F541-42AC-A191-9D66726DD8A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19200" y="0"/>
              <a:ext cx="10972800" cy="6858000"/>
            </a:xfrm>
            <a:prstGeom prst="rect">
              <a:avLst/>
            </a:prstGeom>
          </p:spPr>
        </p:pic>
        <p:pic>
          <p:nvPicPr>
            <p:cNvPr id="11" name="Picture 10" descr="Background pattern&#10;&#10;Description automatically generated">
              <a:extLst>
                <a:ext uri="{FF2B5EF4-FFF2-40B4-BE49-F238E27FC236}">
                  <a16:creationId xmlns:a16="http://schemas.microsoft.com/office/drawing/2014/main" id="{ED9046E5-1194-4C10-B843-3F7C0E36AC5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0" y="0"/>
              <a:ext cx="10972800" cy="6858000"/>
            </a:xfrm>
            <a:prstGeom prst="rect">
              <a:avLst/>
            </a:prstGeom>
          </p:spPr>
        </p:pic>
      </p:grpSp>
      <p:sp>
        <p:nvSpPr>
          <p:cNvPr id="19" name="Rectángulo 6175">
            <a:extLst>
              <a:ext uri="{FF2B5EF4-FFF2-40B4-BE49-F238E27FC236}">
                <a16:creationId xmlns:a16="http://schemas.microsoft.com/office/drawing/2014/main" id="{EFE57DC7-03CB-4F7C-BE5A-FBAC21B16E13}"/>
              </a:ext>
            </a:extLst>
          </p:cNvPr>
          <p:cNvSpPr/>
          <p:nvPr/>
        </p:nvSpPr>
        <p:spPr>
          <a:xfrm>
            <a:off x="0" y="4470400"/>
            <a:ext cx="12214702" cy="2387600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任意多边形: 形状 16">
            <a:extLst>
              <a:ext uri="{FF2B5EF4-FFF2-40B4-BE49-F238E27FC236}">
                <a16:creationId xmlns:a16="http://schemas.microsoft.com/office/drawing/2014/main" id="{31A823D7-1B88-4F38-BE76-926B73DB954B}"/>
              </a:ext>
            </a:extLst>
          </p:cNvPr>
          <p:cNvSpPr/>
          <p:nvPr/>
        </p:nvSpPr>
        <p:spPr>
          <a:xfrm>
            <a:off x="0" y="423817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任意多边形: 形状 16">
            <a:extLst>
              <a:ext uri="{FF2B5EF4-FFF2-40B4-BE49-F238E27FC236}">
                <a16:creationId xmlns:a16="http://schemas.microsoft.com/office/drawing/2014/main" id="{0DD2B3B6-D900-41C8-AFBB-0AC979BBC4E2}"/>
              </a:ext>
            </a:extLst>
          </p:cNvPr>
          <p:cNvSpPr/>
          <p:nvPr/>
        </p:nvSpPr>
        <p:spPr>
          <a:xfrm>
            <a:off x="9464634" y="423817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7BB768-0467-477F-8D3E-28FA30DF6F0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F5C2D4-9F4F-49E8-A23F-5F779843B43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Rectángulo redondeado 14">
            <a:extLst>
              <a:ext uri="{FF2B5EF4-FFF2-40B4-BE49-F238E27FC236}">
                <a16:creationId xmlns:a16="http://schemas.microsoft.com/office/drawing/2014/main" id="{24A43240-638F-4F66-B4D2-15C86DC2B919}"/>
              </a:ext>
            </a:extLst>
          </p:cNvPr>
          <p:cNvSpPr/>
          <p:nvPr/>
        </p:nvSpPr>
        <p:spPr>
          <a:xfrm>
            <a:off x="834056" y="1089635"/>
            <a:ext cx="10523889" cy="4168165"/>
          </a:xfrm>
          <a:prstGeom prst="roundRect">
            <a:avLst>
              <a:gd name="adj" fmla="val 2826"/>
            </a:avLst>
          </a:prstGeom>
          <a:solidFill>
            <a:schemeClr val="bg1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ángulo redondeado 14">
            <a:extLst>
              <a:ext uri="{FF2B5EF4-FFF2-40B4-BE49-F238E27FC236}">
                <a16:creationId xmlns:a16="http://schemas.microsoft.com/office/drawing/2014/main" id="{30E317FD-66E5-4066-8B29-53DBDAD808F0}"/>
              </a:ext>
            </a:extLst>
          </p:cNvPr>
          <p:cNvSpPr/>
          <p:nvPr/>
        </p:nvSpPr>
        <p:spPr>
          <a:xfrm>
            <a:off x="1038078" y="2082799"/>
            <a:ext cx="6536336" cy="2580721"/>
          </a:xfrm>
          <a:prstGeom prst="roundRect">
            <a:avLst>
              <a:gd name="adj" fmla="val 2826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389C8210-EFD0-48DE-819A-E9D8215C46A7}"/>
              </a:ext>
            </a:extLst>
          </p:cNvPr>
          <p:cNvCxnSpPr>
            <a:cxnSpLocks/>
          </p:cNvCxnSpPr>
          <p:nvPr/>
        </p:nvCxnSpPr>
        <p:spPr>
          <a:xfrm>
            <a:off x="2742954" y="6035777"/>
            <a:ext cx="9471748" cy="0"/>
          </a:xfrm>
          <a:prstGeom prst="line">
            <a:avLst/>
          </a:prstGeom>
          <a:ln>
            <a:solidFill>
              <a:schemeClr val="bg1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ángulo redondeado 14">
            <a:extLst>
              <a:ext uri="{FF2B5EF4-FFF2-40B4-BE49-F238E27FC236}">
                <a16:creationId xmlns:a16="http://schemas.microsoft.com/office/drawing/2014/main" id="{FBD9C24B-6744-4A4B-A4D7-1374C86506BC}"/>
              </a:ext>
            </a:extLst>
          </p:cNvPr>
          <p:cNvSpPr/>
          <p:nvPr/>
        </p:nvSpPr>
        <p:spPr>
          <a:xfrm>
            <a:off x="1186516" y="260582"/>
            <a:ext cx="5592534" cy="1503143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ángulo 12">
            <a:extLst>
              <a:ext uri="{FF2B5EF4-FFF2-40B4-BE49-F238E27FC236}">
                <a16:creationId xmlns:a16="http://schemas.microsoft.com/office/drawing/2014/main" id="{2196B0D9-D472-45E7-B1FD-7389D45039D1}"/>
              </a:ext>
            </a:extLst>
          </p:cNvPr>
          <p:cNvSpPr/>
          <p:nvPr/>
        </p:nvSpPr>
        <p:spPr>
          <a:xfrm>
            <a:off x="1272750" y="2234765"/>
            <a:ext cx="4772594" cy="2123658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r>
              <a:rPr lang="en-US" sz="4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Segoe UI" panose="020B0502040204020203" pitchFamily="34" charset="0"/>
                <a:ea typeface="Source Sans Pro Semibold" panose="020B0603030403020204" pitchFamily="34" charset="0"/>
                <a:cs typeface="Segoe UI" panose="020B0502040204020203" pitchFamily="34" charset="0"/>
              </a:rPr>
              <a:t>Performance Troubleshooting for Developers</a:t>
            </a:r>
            <a:endParaRPr lang="en-US" sz="4400" b="1" dirty="0">
              <a:solidFill>
                <a:srgbClr val="D01012"/>
              </a:solidFill>
              <a:latin typeface="Segoe UI" panose="020B0502040204020203" pitchFamily="34" charset="0"/>
              <a:ea typeface="Source Sans Pro Black" panose="020B0803030403020204" pitchFamily="34" charset="0"/>
              <a:cs typeface="Segoe UI" panose="020B0502040204020203" pitchFamily="34" charset="0"/>
            </a:endParaRP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A92C83EC-88F0-42DB-9670-6156FBFAFE95}"/>
              </a:ext>
            </a:extLst>
          </p:cNvPr>
          <p:cNvCxnSpPr/>
          <p:nvPr/>
        </p:nvCxnSpPr>
        <p:spPr>
          <a:xfrm>
            <a:off x="1587500" y="2082800"/>
            <a:ext cx="90805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124" name="Picture 4">
            <a:extLst>
              <a:ext uri="{FF2B5EF4-FFF2-40B4-BE49-F238E27FC236}">
                <a16:creationId xmlns:a16="http://schemas.microsoft.com/office/drawing/2014/main" id="{555B807A-A283-199B-9E9E-83DA39A7D8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8269" y="1899973"/>
            <a:ext cx="2742955" cy="31659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A toy figure with a black mask and a black helmet&#10;&#10;Description automatically generated with medium confidence">
            <a:extLst>
              <a:ext uri="{FF2B5EF4-FFF2-40B4-BE49-F238E27FC236}">
                <a16:creationId xmlns:a16="http://schemas.microsoft.com/office/drawing/2014/main" id="{9FBB808E-D773-4B35-38D2-FA49BA55E56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1253" y="693299"/>
            <a:ext cx="2127942" cy="5019888"/>
          </a:xfrm>
          <a:prstGeom prst="rect">
            <a:avLst/>
          </a:prstGeom>
        </p:spPr>
      </p:pic>
      <p:pic>
        <p:nvPicPr>
          <p:cNvPr id="10" name="Picture 9" descr="A blue toy with a yellow face&#10;&#10;Description automatically generated">
            <a:extLst>
              <a:ext uri="{FF2B5EF4-FFF2-40B4-BE49-F238E27FC236}">
                <a16:creationId xmlns:a16="http://schemas.microsoft.com/office/drawing/2014/main" id="{55C09304-8051-580C-D438-EA435B1E695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2671" y="345440"/>
            <a:ext cx="2330185" cy="5478793"/>
          </a:xfrm>
          <a:prstGeom prst="rect">
            <a:avLst/>
          </a:prstGeom>
        </p:spPr>
      </p:pic>
      <p:pic>
        <p:nvPicPr>
          <p:cNvPr id="17" name="Picture 16" descr="A white robot with a black background&#10;&#10;Description automatically generated">
            <a:extLst>
              <a:ext uri="{FF2B5EF4-FFF2-40B4-BE49-F238E27FC236}">
                <a16:creationId xmlns:a16="http://schemas.microsoft.com/office/drawing/2014/main" id="{745CC2B0-50A3-05B8-BD25-52813BC4630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06224" y="2399929"/>
            <a:ext cx="3826722" cy="3826722"/>
          </a:xfrm>
          <a:prstGeom prst="rect">
            <a:avLst/>
          </a:prstGeom>
        </p:spPr>
      </p:pic>
      <p:pic>
        <p:nvPicPr>
          <p:cNvPr id="22" name="Picture 21" descr="A logo on a black background&#10;&#10;Description automatically generated">
            <a:extLst>
              <a:ext uri="{FF2B5EF4-FFF2-40B4-BE49-F238E27FC236}">
                <a16:creationId xmlns:a16="http://schemas.microsoft.com/office/drawing/2014/main" id="{4CDF2C6D-3CC7-59E6-6659-3A6B6FF69036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8854" t="27574" r="8854" b="36443"/>
          <a:stretch/>
        </p:blipFill>
        <p:spPr>
          <a:xfrm>
            <a:off x="1120625" y="271278"/>
            <a:ext cx="5069888" cy="1490492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5FCB3476-0616-6DCE-9513-A3C9D276546C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3566" y="423372"/>
            <a:ext cx="878993" cy="8789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257114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screenshot of a graph&#10;&#10;AI-generated content may be incorrect.">
            <a:extLst>
              <a:ext uri="{FF2B5EF4-FFF2-40B4-BE49-F238E27FC236}">
                <a16:creationId xmlns:a16="http://schemas.microsoft.com/office/drawing/2014/main" id="{73F9CE2A-AF53-EED1-95B1-13CB14EEAAE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02993"/>
            <a:ext cx="12192000" cy="6252014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734D5D3A-B98B-C440-16D7-B344E9AC4FD9}"/>
              </a:ext>
            </a:extLst>
          </p:cNvPr>
          <p:cNvSpPr/>
          <p:nvPr/>
        </p:nvSpPr>
        <p:spPr>
          <a:xfrm>
            <a:off x="234950" y="1092200"/>
            <a:ext cx="5714999" cy="5213350"/>
          </a:xfrm>
          <a:prstGeom prst="rect">
            <a:avLst/>
          </a:prstGeom>
          <a:noFill/>
          <a:ln w="19050">
            <a:solidFill>
              <a:srgbClr val="2089D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Good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CD9F3E9-E3DC-4E12-14A1-769F0C49D0DF}"/>
              </a:ext>
            </a:extLst>
          </p:cNvPr>
          <p:cNvSpPr/>
          <p:nvPr/>
        </p:nvSpPr>
        <p:spPr>
          <a:xfrm>
            <a:off x="5949949" y="2317750"/>
            <a:ext cx="5714999" cy="3987800"/>
          </a:xfrm>
          <a:prstGeom prst="rect">
            <a:avLst/>
          </a:prstGeom>
          <a:noFill/>
          <a:ln w="19050">
            <a:solidFill>
              <a:srgbClr val="2089D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Worst</a:t>
            </a:r>
          </a:p>
        </p:txBody>
      </p:sp>
    </p:spTree>
    <p:extLst>
      <p:ext uri="{BB962C8B-B14F-4D97-AF65-F5344CB8AC3E}">
        <p14:creationId xmlns:p14="http://schemas.microsoft.com/office/powerpoint/2010/main" val="23528142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3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2C9F43C-ADD0-1FB8-4932-19C4488DBF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group of colorful squares&#10;&#10;Description automatically generated">
            <a:extLst>
              <a:ext uri="{FF2B5EF4-FFF2-40B4-BE49-F238E27FC236}">
                <a16:creationId xmlns:a16="http://schemas.microsoft.com/office/drawing/2014/main" id="{070998C0-B4BC-526C-CA2A-9F4C1A5330C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87" y="6156644"/>
            <a:ext cx="597947" cy="597947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65E0044-E1FC-0892-8E8D-09A63C7A8A4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GB" sz="3200" dirty="0"/>
              <a:t>Yes</a:t>
            </a:r>
          </a:p>
          <a:p>
            <a:pPr marL="0" indent="0">
              <a:buNone/>
            </a:pPr>
            <a:r>
              <a:rPr lang="en-US" sz="3200" dirty="0"/>
              <a:t>select </a:t>
            </a:r>
            <a:r>
              <a:rPr lang="en-US" sz="3200" dirty="0" err="1"/>
              <a:t>firstonly</a:t>
            </a:r>
            <a:r>
              <a:rPr lang="en-US" sz="3200" dirty="0"/>
              <a:t> </a:t>
            </a:r>
            <a:r>
              <a:rPr lang="en-US" sz="3200" dirty="0" err="1"/>
              <a:t>AccountNum</a:t>
            </a:r>
            <a:r>
              <a:rPr lang="en-US" sz="3200" dirty="0"/>
              <a:t> from </a:t>
            </a:r>
            <a:r>
              <a:rPr lang="en-US" sz="3200" dirty="0" err="1"/>
              <a:t>CustTable</a:t>
            </a:r>
            <a:r>
              <a:rPr lang="en-US" sz="3200" dirty="0"/>
              <a:t>;</a:t>
            </a:r>
          </a:p>
          <a:p>
            <a:pPr lvl="1"/>
            <a:endParaRPr lang="en-US" sz="2800" dirty="0"/>
          </a:p>
          <a:p>
            <a:pPr marL="0" indent="0">
              <a:buNone/>
            </a:pPr>
            <a:r>
              <a:rPr lang="en-US" sz="3200" dirty="0"/>
              <a:t>select </a:t>
            </a:r>
            <a:r>
              <a:rPr lang="en-US" sz="3200" dirty="0" err="1"/>
              <a:t>firstonly</a:t>
            </a:r>
            <a:r>
              <a:rPr lang="en-US" sz="3200" dirty="0"/>
              <a:t> </a:t>
            </a:r>
            <a:r>
              <a:rPr lang="en-US" sz="3200" dirty="0" err="1"/>
              <a:t>PaymTermId</a:t>
            </a:r>
            <a:r>
              <a:rPr lang="en-US" sz="3200" dirty="0"/>
              <a:t>, </a:t>
            </a:r>
            <a:r>
              <a:rPr lang="en-US" sz="3200" dirty="0" err="1"/>
              <a:t>LineDisc</a:t>
            </a:r>
            <a:r>
              <a:rPr lang="en-US" sz="3200" dirty="0"/>
              <a:t>, </a:t>
            </a:r>
            <a:r>
              <a:rPr lang="en-US" sz="3200" dirty="0" err="1"/>
              <a:t>PartyCountry</a:t>
            </a:r>
            <a:r>
              <a:rPr lang="en-US" sz="3200" dirty="0"/>
              <a:t>, </a:t>
            </a:r>
            <a:r>
              <a:rPr lang="en-US" sz="3200" dirty="0" err="1"/>
              <a:t>AccountNum</a:t>
            </a:r>
            <a:r>
              <a:rPr lang="en-US" sz="3200" dirty="0"/>
              <a:t>, </a:t>
            </a:r>
            <a:r>
              <a:rPr lang="en-US" sz="3200" dirty="0" err="1"/>
              <a:t>AccountStatement</a:t>
            </a:r>
            <a:r>
              <a:rPr lang="en-US" sz="3200" dirty="0"/>
              <a:t>, </a:t>
            </a:r>
            <a:r>
              <a:rPr lang="en-US" sz="3200" dirty="0" err="1"/>
              <a:t>BankAccount</a:t>
            </a:r>
            <a:r>
              <a:rPr lang="en-US" sz="3200" dirty="0"/>
              <a:t>, Blocked, </a:t>
            </a:r>
            <a:r>
              <a:rPr lang="en-US" sz="3200" dirty="0" err="1"/>
              <a:t>CashDisc</a:t>
            </a:r>
            <a:r>
              <a:rPr lang="en-US" sz="3200" dirty="0"/>
              <a:t>, </a:t>
            </a:r>
            <a:r>
              <a:rPr lang="en-US" sz="3200" dirty="0" err="1"/>
              <a:t>CashDisc</a:t>
            </a:r>
            <a:r>
              <a:rPr lang="en-US" sz="3200" dirty="0"/>
              <a:t>, </a:t>
            </a:r>
            <a:r>
              <a:rPr lang="en-US" sz="3200" dirty="0" err="1"/>
              <a:t>ClearingPeriod</a:t>
            </a:r>
            <a:r>
              <a:rPr lang="en-US" sz="3200" dirty="0"/>
              <a:t> from </a:t>
            </a:r>
            <a:r>
              <a:rPr lang="en-US" sz="3200" dirty="0" err="1"/>
              <a:t>CustTable</a:t>
            </a:r>
            <a:r>
              <a:rPr lang="en-US" sz="3200" dirty="0"/>
              <a:t>;</a:t>
            </a:r>
          </a:p>
          <a:p>
            <a:pPr marL="0" indent="0">
              <a:buNone/>
            </a:pPr>
            <a:endParaRPr lang="en-GB" sz="3200" dirty="0"/>
          </a:p>
          <a:p>
            <a:pPr marL="0" indent="0">
              <a:buNone/>
            </a:pPr>
            <a:r>
              <a:rPr lang="en-GB" sz="3200" dirty="0"/>
              <a:t>select </a:t>
            </a:r>
            <a:r>
              <a:rPr lang="en-GB" sz="3200" dirty="0" err="1"/>
              <a:t>firstonly</a:t>
            </a:r>
            <a:r>
              <a:rPr lang="en-GB" sz="3200" dirty="0"/>
              <a:t> * from </a:t>
            </a:r>
            <a:r>
              <a:rPr lang="en-GB" sz="3200" dirty="0" err="1"/>
              <a:t>CustTable</a:t>
            </a:r>
            <a:r>
              <a:rPr lang="en-GB" sz="3200" dirty="0"/>
              <a:t>;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E1A5A4A-18D5-AA67-AA64-D1ACCAC898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21</a:t>
            </a:fld>
            <a:endParaRPr lang="en-US" dirty="0"/>
          </a:p>
        </p:txBody>
      </p:sp>
      <p:sp>
        <p:nvSpPr>
          <p:cNvPr id="16" name="Rectángulo redondeado 14">
            <a:extLst>
              <a:ext uri="{FF2B5EF4-FFF2-40B4-BE49-F238E27FC236}">
                <a16:creationId xmlns:a16="http://schemas.microsoft.com/office/drawing/2014/main" id="{D6877EE9-2604-B878-77F1-56329BC2F2D7}"/>
              </a:ext>
            </a:extLst>
          </p:cNvPr>
          <p:cNvSpPr/>
          <p:nvPr/>
        </p:nvSpPr>
        <p:spPr>
          <a:xfrm>
            <a:off x="207123" y="215979"/>
            <a:ext cx="9444878" cy="1214125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ángulo 12">
            <a:extLst>
              <a:ext uri="{FF2B5EF4-FFF2-40B4-BE49-F238E27FC236}">
                <a16:creationId xmlns:a16="http://schemas.microsoft.com/office/drawing/2014/main" id="{69B91CD6-8383-0DE8-7237-9353E74C51BF}"/>
              </a:ext>
            </a:extLst>
          </p:cNvPr>
          <p:cNvSpPr/>
          <p:nvPr/>
        </p:nvSpPr>
        <p:spPr>
          <a:xfrm>
            <a:off x="676534" y="396696"/>
            <a:ext cx="8702416" cy="769441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Does specifying columns matter?</a:t>
            </a:r>
          </a:p>
        </p:txBody>
      </p:sp>
      <p:pic>
        <p:nvPicPr>
          <p:cNvPr id="2" name="Content Placeholder 11" descr="A logo with a black background">
            <a:extLst>
              <a:ext uri="{FF2B5EF4-FFF2-40B4-BE49-F238E27FC236}">
                <a16:creationId xmlns:a16="http://schemas.microsoft.com/office/drawing/2014/main" id="{32481B2D-98FD-6C1A-6DA1-43503F7BC5F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0916" y="-84227"/>
            <a:ext cx="3751522" cy="2110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030363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86602E-44A3-5902-DAF2-0760C0DF82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group of colorful squares&#10;&#10;Description automatically generated">
            <a:extLst>
              <a:ext uri="{FF2B5EF4-FFF2-40B4-BE49-F238E27FC236}">
                <a16:creationId xmlns:a16="http://schemas.microsoft.com/office/drawing/2014/main" id="{1981FBC1-8D29-11CB-404F-3C6B65A068A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87" y="6156644"/>
            <a:ext cx="597947" cy="59794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FFEC853-DEF7-7076-A816-873377094F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22</a:t>
            </a:fld>
            <a:endParaRPr lang="en-US" dirty="0"/>
          </a:p>
        </p:txBody>
      </p:sp>
      <p:sp>
        <p:nvSpPr>
          <p:cNvPr id="16" name="Rectángulo redondeado 14">
            <a:extLst>
              <a:ext uri="{FF2B5EF4-FFF2-40B4-BE49-F238E27FC236}">
                <a16:creationId xmlns:a16="http://schemas.microsoft.com/office/drawing/2014/main" id="{C685C0A2-B5AF-F95D-D164-81FF1F4326D3}"/>
              </a:ext>
            </a:extLst>
          </p:cNvPr>
          <p:cNvSpPr/>
          <p:nvPr/>
        </p:nvSpPr>
        <p:spPr>
          <a:xfrm>
            <a:off x="207123" y="215979"/>
            <a:ext cx="9444878" cy="1214125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ángulo 12">
            <a:extLst>
              <a:ext uri="{FF2B5EF4-FFF2-40B4-BE49-F238E27FC236}">
                <a16:creationId xmlns:a16="http://schemas.microsoft.com/office/drawing/2014/main" id="{07267352-E70B-3046-4ECE-490851B54B34}"/>
              </a:ext>
            </a:extLst>
          </p:cNvPr>
          <p:cNvSpPr/>
          <p:nvPr/>
        </p:nvSpPr>
        <p:spPr>
          <a:xfrm>
            <a:off x="676534" y="396696"/>
            <a:ext cx="7415414" cy="769441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Data Entities</a:t>
            </a:r>
          </a:p>
        </p:txBody>
      </p:sp>
      <p:pic>
        <p:nvPicPr>
          <p:cNvPr id="2" name="Content Placeholder 11" descr="A logo with a black background">
            <a:extLst>
              <a:ext uri="{FF2B5EF4-FFF2-40B4-BE49-F238E27FC236}">
                <a16:creationId xmlns:a16="http://schemas.microsoft.com/office/drawing/2014/main" id="{DCC8A294-4178-D3E0-33D8-9F87FC97A9D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0916" y="-84227"/>
            <a:ext cx="3751522" cy="2110231"/>
          </a:xfrm>
          <a:prstGeom prst="rect">
            <a:avLst/>
          </a:prstGeom>
        </p:spPr>
      </p:pic>
      <p:pic>
        <p:nvPicPr>
          <p:cNvPr id="5" name="Picture 2">
            <a:extLst>
              <a:ext uri="{FF2B5EF4-FFF2-40B4-BE49-F238E27FC236}">
                <a16:creationId xmlns:a16="http://schemas.microsoft.com/office/drawing/2014/main" id="{8A1A2F67-1A18-0FD4-7E0C-7CDB670FB7A0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4241" y="1825625"/>
            <a:ext cx="6843519" cy="4351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2913115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0E066D-12AF-FEC1-6670-1F7B246308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BD354E-2415-31AF-0AC6-277EF12D20D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6C4B32D-82E4-B05F-BC7C-DF69D9BB42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23</a:t>
            </a:fld>
            <a:endParaRPr lang="en-US" dirty="0"/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1162E052-7046-D926-85E7-7CA50D79CA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0873" y="180975"/>
            <a:ext cx="10285777" cy="6540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ED03CEA-D9B1-9FAB-70A8-8C109A9E6DD8}"/>
              </a:ext>
            </a:extLst>
          </p:cNvPr>
          <p:cNvSpPr/>
          <p:nvPr/>
        </p:nvSpPr>
        <p:spPr bwMode="auto">
          <a:xfrm>
            <a:off x="7518400" y="2106612"/>
            <a:ext cx="3405892" cy="3926977"/>
          </a:xfrm>
          <a:prstGeom prst="rect">
            <a:avLst/>
          </a:prstGeom>
          <a:noFill/>
          <a:ln w="38100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526305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CE5E9C-7569-1E97-816C-D67411089C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group of colorful squares&#10;&#10;Description automatically generated">
            <a:extLst>
              <a:ext uri="{FF2B5EF4-FFF2-40B4-BE49-F238E27FC236}">
                <a16:creationId xmlns:a16="http://schemas.microsoft.com/office/drawing/2014/main" id="{76C92CCE-2AC0-775E-6FB0-37C5B67C434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87" y="6156644"/>
            <a:ext cx="597947" cy="59794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56BABA2-C434-5ED6-F11E-29A2E4F414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24</a:t>
            </a:fld>
            <a:endParaRPr lang="en-US" dirty="0"/>
          </a:p>
        </p:txBody>
      </p:sp>
      <p:sp>
        <p:nvSpPr>
          <p:cNvPr id="16" name="Rectángulo redondeado 14">
            <a:extLst>
              <a:ext uri="{FF2B5EF4-FFF2-40B4-BE49-F238E27FC236}">
                <a16:creationId xmlns:a16="http://schemas.microsoft.com/office/drawing/2014/main" id="{6800B44F-8AEC-6333-9B33-DB69009FEF4A}"/>
              </a:ext>
            </a:extLst>
          </p:cNvPr>
          <p:cNvSpPr/>
          <p:nvPr/>
        </p:nvSpPr>
        <p:spPr>
          <a:xfrm>
            <a:off x="207123" y="215979"/>
            <a:ext cx="9444878" cy="1214125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ángulo 12">
            <a:extLst>
              <a:ext uri="{FF2B5EF4-FFF2-40B4-BE49-F238E27FC236}">
                <a16:creationId xmlns:a16="http://schemas.microsoft.com/office/drawing/2014/main" id="{E22DD005-5417-7297-56B7-BABAC76553FF}"/>
              </a:ext>
            </a:extLst>
          </p:cNvPr>
          <p:cNvSpPr/>
          <p:nvPr/>
        </p:nvSpPr>
        <p:spPr>
          <a:xfrm>
            <a:off x="676534" y="519806"/>
            <a:ext cx="8841226" cy="646331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r>
              <a:rPr lang="en-US" sz="3600" b="1" dirty="0" err="1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ForceSelectOrder</a:t>
            </a:r>
            <a:r>
              <a:rPr lang="en-US" sz="3600" b="1" dirty="0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 and </a:t>
            </a:r>
            <a:r>
              <a:rPr lang="en-US" sz="3600" b="1" dirty="0" err="1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ForceNestedLoop</a:t>
            </a:r>
            <a:endParaRPr lang="en-US" sz="3600" b="1" dirty="0">
              <a:solidFill>
                <a:schemeClr val="bg1"/>
              </a:solidFill>
              <a:latin typeface="Segoe UI" panose="020B0502040204020203" pitchFamily="34" charset="0"/>
              <a:ea typeface="Source Sans Pro Black" panose="020B0803030403020204" pitchFamily="34" charset="0"/>
              <a:cs typeface="Segoe UI" panose="020B0502040204020203" pitchFamily="34" charset="0"/>
            </a:endParaRPr>
          </a:p>
        </p:txBody>
      </p:sp>
      <p:pic>
        <p:nvPicPr>
          <p:cNvPr id="2" name="Content Placeholder 11" descr="A logo with a black background">
            <a:extLst>
              <a:ext uri="{FF2B5EF4-FFF2-40B4-BE49-F238E27FC236}">
                <a16:creationId xmlns:a16="http://schemas.microsoft.com/office/drawing/2014/main" id="{74ACC7A1-F029-6211-43BE-BE641F51E31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0916" y="-84227"/>
            <a:ext cx="3751522" cy="2110231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6CF56B2-3C74-5C03-593E-031B3103C32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6534" y="1914303"/>
            <a:ext cx="10823316" cy="4351338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select </a:t>
            </a:r>
            <a:r>
              <a:rPr lang="en-US" dirty="0" err="1"/>
              <a:t>generateonly</a:t>
            </a:r>
            <a:r>
              <a:rPr lang="en-US" dirty="0"/>
              <a:t> </a:t>
            </a:r>
            <a:r>
              <a:rPr lang="en-US" dirty="0" err="1"/>
              <a:t>firstonly</a:t>
            </a:r>
            <a:r>
              <a:rPr lang="en-US" dirty="0"/>
              <a:t> </a:t>
            </a:r>
            <a:r>
              <a:rPr lang="en-US" dirty="0" err="1">
                <a:highlight>
                  <a:srgbClr val="FFFF00"/>
                </a:highlight>
              </a:rPr>
              <a:t>forceselectorder</a:t>
            </a:r>
            <a:r>
              <a:rPr lang="en-US" dirty="0">
                <a:highlight>
                  <a:srgbClr val="FFFF00"/>
                </a:highlight>
              </a:rPr>
              <a:t> </a:t>
            </a:r>
            <a:r>
              <a:rPr lang="en-US" dirty="0" err="1">
                <a:highlight>
                  <a:srgbClr val="FFFF00"/>
                </a:highlight>
              </a:rPr>
              <a:t>forcenestedloop</a:t>
            </a:r>
            <a:r>
              <a:rPr lang="en-US" dirty="0">
                <a:highlight>
                  <a:srgbClr val="FFFF00"/>
                </a:highlight>
              </a:rPr>
              <a:t> </a:t>
            </a:r>
            <a:r>
              <a:rPr lang="en-US" dirty="0"/>
              <a:t>* from </a:t>
            </a:r>
            <a:r>
              <a:rPr lang="en-US" dirty="0" err="1"/>
              <a:t>salesTable</a:t>
            </a:r>
            <a:endParaRPr lang="en-US" dirty="0"/>
          </a:p>
          <a:p>
            <a:pPr marL="0" indent="0">
              <a:buNone/>
            </a:pPr>
            <a:r>
              <a:rPr lang="en-US" dirty="0"/>
              <a:t>            join </a:t>
            </a:r>
            <a:r>
              <a:rPr lang="en-US" dirty="0" err="1"/>
              <a:t>salesLine</a:t>
            </a:r>
            <a:endParaRPr lang="en-US" dirty="0"/>
          </a:p>
          <a:p>
            <a:pPr marL="0" indent="0">
              <a:buNone/>
            </a:pPr>
            <a:r>
              <a:rPr lang="en-US" dirty="0"/>
              <a:t>            where </a:t>
            </a:r>
            <a:r>
              <a:rPr lang="en-US" dirty="0" err="1"/>
              <a:t>salesTable.SalesId</a:t>
            </a:r>
            <a:r>
              <a:rPr lang="en-US" dirty="0"/>
              <a:t> == </a:t>
            </a:r>
            <a:r>
              <a:rPr lang="en-US" dirty="0" err="1"/>
              <a:t>salesLine.SalesId</a:t>
            </a:r>
            <a:r>
              <a:rPr lang="en-US" dirty="0"/>
              <a:t>;</a:t>
            </a:r>
          </a:p>
        </p:txBody>
      </p:sp>
    </p:spTree>
    <p:extLst>
      <p:ext uri="{BB962C8B-B14F-4D97-AF65-F5344CB8AC3E}">
        <p14:creationId xmlns:p14="http://schemas.microsoft.com/office/powerpoint/2010/main" val="247791814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E4987E-FDC8-C6BB-4B60-484B03A86A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group of colorful squares&#10;&#10;Description automatically generated">
            <a:extLst>
              <a:ext uri="{FF2B5EF4-FFF2-40B4-BE49-F238E27FC236}">
                <a16:creationId xmlns:a16="http://schemas.microsoft.com/office/drawing/2014/main" id="{E22445A8-FC97-94F1-399A-BD55717C8EC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87" y="6156644"/>
            <a:ext cx="597947" cy="59794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879C143-4779-2B05-1911-799FB16472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25</a:t>
            </a:fld>
            <a:endParaRPr lang="en-US" dirty="0"/>
          </a:p>
        </p:txBody>
      </p:sp>
      <p:sp>
        <p:nvSpPr>
          <p:cNvPr id="16" name="Rectángulo redondeado 14">
            <a:extLst>
              <a:ext uri="{FF2B5EF4-FFF2-40B4-BE49-F238E27FC236}">
                <a16:creationId xmlns:a16="http://schemas.microsoft.com/office/drawing/2014/main" id="{F587D5AF-3C93-D7E6-DA20-DAB7AE070308}"/>
              </a:ext>
            </a:extLst>
          </p:cNvPr>
          <p:cNvSpPr/>
          <p:nvPr/>
        </p:nvSpPr>
        <p:spPr>
          <a:xfrm>
            <a:off x="207123" y="215979"/>
            <a:ext cx="9444878" cy="1214125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ángulo 12">
            <a:extLst>
              <a:ext uri="{FF2B5EF4-FFF2-40B4-BE49-F238E27FC236}">
                <a16:creationId xmlns:a16="http://schemas.microsoft.com/office/drawing/2014/main" id="{FE38FED3-2281-1309-4140-AE14C6217202}"/>
              </a:ext>
            </a:extLst>
          </p:cNvPr>
          <p:cNvSpPr/>
          <p:nvPr/>
        </p:nvSpPr>
        <p:spPr>
          <a:xfrm>
            <a:off x="676534" y="519806"/>
            <a:ext cx="8841226" cy="646331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r>
              <a:rPr lang="en-US" sz="3600" b="1" dirty="0" err="1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ForceSelectOrder</a:t>
            </a:r>
            <a:r>
              <a:rPr lang="en-US" sz="3600" b="1" dirty="0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 and </a:t>
            </a:r>
            <a:r>
              <a:rPr lang="en-US" sz="3600" b="1" dirty="0" err="1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ForceNestedLoop</a:t>
            </a:r>
            <a:endParaRPr lang="en-US" sz="3600" b="1" dirty="0">
              <a:solidFill>
                <a:schemeClr val="bg1"/>
              </a:solidFill>
              <a:latin typeface="Segoe UI" panose="020B0502040204020203" pitchFamily="34" charset="0"/>
              <a:ea typeface="Source Sans Pro Black" panose="020B0803030403020204" pitchFamily="34" charset="0"/>
              <a:cs typeface="Segoe UI" panose="020B0502040204020203" pitchFamily="34" charset="0"/>
            </a:endParaRPr>
          </a:p>
        </p:txBody>
      </p:sp>
      <p:pic>
        <p:nvPicPr>
          <p:cNvPr id="2" name="Content Placeholder 11" descr="A logo with a black background">
            <a:extLst>
              <a:ext uri="{FF2B5EF4-FFF2-40B4-BE49-F238E27FC236}">
                <a16:creationId xmlns:a16="http://schemas.microsoft.com/office/drawing/2014/main" id="{98B3FF97-8E96-F410-BED5-2E7916BC739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0916" y="-84227"/>
            <a:ext cx="3751522" cy="2110231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5251C4-134B-77D0-D62E-DC36D7DBBC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6534" y="1914303"/>
            <a:ext cx="10823316" cy="4351338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US" dirty="0"/>
              <a:t>SELECT TOP 1 [fields]</a:t>
            </a:r>
          </a:p>
          <a:p>
            <a:pPr marL="0" indent="0">
              <a:buNone/>
            </a:pPr>
            <a:r>
              <a:rPr lang="en-US" dirty="0"/>
              <a:t>FROM   </a:t>
            </a:r>
            <a:r>
              <a:rPr lang="en-US" dirty="0" err="1"/>
              <a:t>salestable</a:t>
            </a:r>
            <a:r>
              <a:rPr lang="en-US" dirty="0"/>
              <a:t> T1</a:t>
            </a:r>
          </a:p>
          <a:p>
            <a:pPr marL="0" indent="0">
              <a:buNone/>
            </a:pPr>
            <a:r>
              <a:rPr lang="en-US" dirty="0"/>
              <a:t>       CROSS JOIN </a:t>
            </a:r>
            <a:r>
              <a:rPr lang="en-US" dirty="0" err="1"/>
              <a:t>salesline</a:t>
            </a:r>
            <a:r>
              <a:rPr lang="en-US" dirty="0"/>
              <a:t> T2</a:t>
            </a:r>
          </a:p>
          <a:p>
            <a:pPr marL="0" indent="0">
              <a:buNone/>
            </a:pPr>
            <a:r>
              <a:rPr lang="en-US" dirty="0"/>
              <a:t>WHERE  ( ( T1.partition = 5637144576 )</a:t>
            </a:r>
          </a:p>
          <a:p>
            <a:pPr marL="0" indent="0">
              <a:buNone/>
            </a:pPr>
            <a:r>
              <a:rPr lang="en-US" dirty="0"/>
              <a:t>         AND ( T1.dataareaid = </a:t>
            </a:r>
            <a:r>
              <a:rPr lang="en-US" dirty="0" err="1"/>
              <a:t>N'usmf</a:t>
            </a:r>
            <a:r>
              <a:rPr lang="en-US" dirty="0"/>
              <a:t>' ) )</a:t>
            </a:r>
          </a:p>
          <a:p>
            <a:pPr marL="0" indent="0">
              <a:buNone/>
            </a:pPr>
            <a:r>
              <a:rPr lang="en-US" dirty="0"/>
              <a:t>       AND ( ( ( T2.partition = 5637144576 )</a:t>
            </a:r>
          </a:p>
          <a:p>
            <a:pPr marL="0" indent="0">
              <a:buNone/>
            </a:pPr>
            <a:r>
              <a:rPr lang="en-US" dirty="0"/>
              <a:t>               AND ( T2.dataareaid = </a:t>
            </a:r>
            <a:r>
              <a:rPr lang="en-US" dirty="0" err="1"/>
              <a:t>N'usmf</a:t>
            </a:r>
            <a:r>
              <a:rPr lang="en-US" dirty="0"/>
              <a:t>' ) )</a:t>
            </a:r>
          </a:p>
          <a:p>
            <a:pPr marL="0" indent="0">
              <a:buNone/>
            </a:pPr>
            <a:r>
              <a:rPr lang="en-US" dirty="0"/>
              <a:t>             AND ( T1.salesid = T2.salesid ) )</a:t>
            </a:r>
          </a:p>
          <a:p>
            <a:pPr marL="0" indent="0">
              <a:buNone/>
            </a:pPr>
            <a:r>
              <a:rPr lang="en-US" dirty="0">
                <a:highlight>
                  <a:srgbClr val="FFFF00"/>
                </a:highlight>
              </a:rPr>
              <a:t>OPTION(loop JOIN, force ORDER) </a:t>
            </a:r>
          </a:p>
        </p:txBody>
      </p:sp>
    </p:spTree>
    <p:extLst>
      <p:ext uri="{BB962C8B-B14F-4D97-AF65-F5344CB8AC3E}">
        <p14:creationId xmlns:p14="http://schemas.microsoft.com/office/powerpoint/2010/main" val="222660439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157666D-382B-96F4-0549-E9B8F7B9CA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group of colorful squares&#10;&#10;Description automatically generated">
            <a:extLst>
              <a:ext uri="{FF2B5EF4-FFF2-40B4-BE49-F238E27FC236}">
                <a16:creationId xmlns:a16="http://schemas.microsoft.com/office/drawing/2014/main" id="{820E70AB-FE2A-F02F-4AC6-52B717F182E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87" y="6156644"/>
            <a:ext cx="597947" cy="597947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C65AFE1-3FEE-2763-D84C-EC84403F4FA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GB" dirty="0"/>
              <a:t>while select * from </a:t>
            </a:r>
            <a:r>
              <a:rPr lang="en-GB" dirty="0" err="1"/>
              <a:t>custTable</a:t>
            </a:r>
            <a:endParaRPr lang="en-GB" dirty="0"/>
          </a:p>
          <a:p>
            <a:pPr marL="0" indent="0">
              <a:buNone/>
            </a:pPr>
            <a:r>
              <a:rPr lang="en-GB" dirty="0"/>
              <a:t>{</a:t>
            </a:r>
          </a:p>
          <a:p>
            <a:pPr marL="0" indent="0">
              <a:buNone/>
            </a:pPr>
            <a:r>
              <a:rPr lang="en-GB" dirty="0"/>
              <a:t>	while select * from </a:t>
            </a:r>
            <a:r>
              <a:rPr lang="en-GB" dirty="0" err="1"/>
              <a:t>custTrans</a:t>
            </a:r>
            <a:endParaRPr lang="en-GB" dirty="0"/>
          </a:p>
          <a:p>
            <a:pPr marL="0" indent="0">
              <a:buNone/>
            </a:pPr>
            <a:r>
              <a:rPr lang="en-GB" dirty="0"/>
              <a:t>		where </a:t>
            </a:r>
            <a:r>
              <a:rPr lang="en-GB" dirty="0" err="1"/>
              <a:t>custTrans.AccountNum</a:t>
            </a:r>
            <a:r>
              <a:rPr lang="en-GB" dirty="0"/>
              <a:t> == </a:t>
            </a:r>
            <a:r>
              <a:rPr lang="en-GB" dirty="0" err="1"/>
              <a:t>custTable.AccountNum</a:t>
            </a:r>
            <a:endParaRPr lang="en-GB" dirty="0"/>
          </a:p>
          <a:p>
            <a:pPr marL="0" indent="0">
              <a:buNone/>
            </a:pPr>
            <a:r>
              <a:rPr lang="en-GB" dirty="0"/>
              <a:t>	{</a:t>
            </a:r>
          </a:p>
          <a:p>
            <a:pPr marL="0" indent="0">
              <a:buNone/>
            </a:pPr>
            <a:r>
              <a:rPr lang="en-GB" dirty="0"/>
              <a:t>		info(</a:t>
            </a:r>
            <a:r>
              <a:rPr lang="en-GB" dirty="0" err="1"/>
              <a:t>strFmt</a:t>
            </a:r>
            <a:r>
              <a:rPr lang="en-GB" dirty="0"/>
              <a:t>("Transaction: %1 on %2", </a:t>
            </a:r>
            <a:r>
              <a:rPr lang="en-GB" dirty="0" err="1"/>
              <a:t>custTrans.InvoiceId</a:t>
            </a:r>
            <a:r>
              <a:rPr lang="en-GB" dirty="0"/>
              <a:t>, </a:t>
            </a:r>
            <a:r>
              <a:rPr lang="en-GB" dirty="0" err="1"/>
              <a:t>custTrans.TransDate</a:t>
            </a:r>
            <a:r>
              <a:rPr lang="en-GB" dirty="0"/>
              <a:t>));</a:t>
            </a:r>
          </a:p>
          <a:p>
            <a:pPr marL="0" indent="0">
              <a:buNone/>
            </a:pPr>
            <a:r>
              <a:rPr lang="en-GB" dirty="0"/>
              <a:t>	}</a:t>
            </a:r>
          </a:p>
          <a:p>
            <a:pPr marL="0" indent="0">
              <a:buNone/>
            </a:pPr>
            <a:r>
              <a:rPr lang="en-GB" dirty="0"/>
              <a:t>}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9F587BA-9228-B3B7-6233-831EDEE80A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26</a:t>
            </a:fld>
            <a:endParaRPr lang="en-US" dirty="0"/>
          </a:p>
        </p:txBody>
      </p:sp>
      <p:sp>
        <p:nvSpPr>
          <p:cNvPr id="16" name="Rectángulo redondeado 14">
            <a:extLst>
              <a:ext uri="{FF2B5EF4-FFF2-40B4-BE49-F238E27FC236}">
                <a16:creationId xmlns:a16="http://schemas.microsoft.com/office/drawing/2014/main" id="{06914C04-7474-4261-F735-CD3D96CCD6A1}"/>
              </a:ext>
            </a:extLst>
          </p:cNvPr>
          <p:cNvSpPr/>
          <p:nvPr/>
        </p:nvSpPr>
        <p:spPr>
          <a:xfrm>
            <a:off x="207123" y="215979"/>
            <a:ext cx="9444878" cy="1214125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ángulo 12">
            <a:extLst>
              <a:ext uri="{FF2B5EF4-FFF2-40B4-BE49-F238E27FC236}">
                <a16:creationId xmlns:a16="http://schemas.microsoft.com/office/drawing/2014/main" id="{B1F63D17-C076-C5BF-F5B5-5B6401F445FC}"/>
              </a:ext>
            </a:extLst>
          </p:cNvPr>
          <p:cNvSpPr/>
          <p:nvPr/>
        </p:nvSpPr>
        <p:spPr>
          <a:xfrm>
            <a:off x="676534" y="396696"/>
            <a:ext cx="7415414" cy="769441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Query Optimization - Bad</a:t>
            </a:r>
          </a:p>
        </p:txBody>
      </p:sp>
      <p:pic>
        <p:nvPicPr>
          <p:cNvPr id="2" name="Content Placeholder 11" descr="A logo with a black background">
            <a:extLst>
              <a:ext uri="{FF2B5EF4-FFF2-40B4-BE49-F238E27FC236}">
                <a16:creationId xmlns:a16="http://schemas.microsoft.com/office/drawing/2014/main" id="{E095047B-E98C-654D-3713-A5B1D523E8A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0916" y="-84227"/>
            <a:ext cx="3751522" cy="2110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651416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4FF9B8-9646-E6A0-5D86-5B6B061659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group of colorful squares&#10;&#10;Description automatically generated">
            <a:extLst>
              <a:ext uri="{FF2B5EF4-FFF2-40B4-BE49-F238E27FC236}">
                <a16:creationId xmlns:a16="http://schemas.microsoft.com/office/drawing/2014/main" id="{07A7D8C4-76A0-A566-E74C-BE92EB152DD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87" y="6156644"/>
            <a:ext cx="597947" cy="597947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56611DA-8D65-925B-53BD-4C2B892C3AF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GB" dirty="0"/>
              <a:t>while select </a:t>
            </a:r>
            <a:r>
              <a:rPr lang="en-GB" dirty="0" err="1"/>
              <a:t>AccountNum</a:t>
            </a:r>
            <a:r>
              <a:rPr lang="en-GB" dirty="0"/>
              <a:t>, Name, </a:t>
            </a:r>
            <a:r>
              <a:rPr lang="en-GB" dirty="0" err="1"/>
              <a:t>custTrans.InvoiceId</a:t>
            </a:r>
            <a:r>
              <a:rPr lang="en-GB" dirty="0"/>
              <a:t>, </a:t>
            </a:r>
            <a:r>
              <a:rPr lang="en-GB" dirty="0" err="1"/>
              <a:t>custTrans.TransDate</a:t>
            </a:r>
            <a:endParaRPr lang="en-GB" dirty="0"/>
          </a:p>
          <a:p>
            <a:pPr marL="0" indent="0">
              <a:buNone/>
            </a:pPr>
            <a:r>
              <a:rPr lang="en-GB" dirty="0"/>
              <a:t>        from </a:t>
            </a:r>
            <a:r>
              <a:rPr lang="en-GB" dirty="0" err="1"/>
              <a:t>custTable</a:t>
            </a:r>
            <a:endParaRPr lang="en-GB" dirty="0"/>
          </a:p>
          <a:p>
            <a:pPr marL="0" indent="0">
              <a:buNone/>
            </a:pPr>
            <a:r>
              <a:rPr lang="en-GB" dirty="0"/>
              <a:t>        join </a:t>
            </a:r>
            <a:r>
              <a:rPr lang="en-GB" dirty="0" err="1"/>
              <a:t>custTrans</a:t>
            </a:r>
            <a:endParaRPr lang="en-GB" dirty="0"/>
          </a:p>
          <a:p>
            <a:pPr marL="0" indent="0">
              <a:buNone/>
            </a:pPr>
            <a:r>
              <a:rPr lang="en-GB" dirty="0"/>
              <a:t>            where </a:t>
            </a:r>
            <a:r>
              <a:rPr lang="en-GB" dirty="0" err="1"/>
              <a:t>custTrans.AccountNum</a:t>
            </a:r>
            <a:r>
              <a:rPr lang="en-GB" dirty="0"/>
              <a:t> == </a:t>
            </a:r>
            <a:r>
              <a:rPr lang="en-GB" dirty="0" err="1"/>
              <a:t>custTable.AccountNum</a:t>
            </a:r>
            <a:endParaRPr lang="en-GB" dirty="0"/>
          </a:p>
          <a:p>
            <a:pPr marL="0" indent="0">
              <a:buNone/>
            </a:pPr>
            <a:r>
              <a:rPr lang="en-GB" dirty="0"/>
              <a:t>{</a:t>
            </a:r>
          </a:p>
          <a:p>
            <a:pPr marL="0" indent="0">
              <a:buNone/>
            </a:pPr>
            <a:r>
              <a:rPr lang="en-GB" dirty="0"/>
              <a:t>     info(</a:t>
            </a:r>
            <a:r>
              <a:rPr lang="en-GB" dirty="0" err="1"/>
              <a:t>strFmt</a:t>
            </a:r>
            <a:r>
              <a:rPr lang="en-GB" dirty="0"/>
              <a:t>("Customer: %1, %2 - Transaction: %3 on %4", </a:t>
            </a:r>
          </a:p>
          <a:p>
            <a:pPr marL="0" indent="0">
              <a:buNone/>
            </a:pPr>
            <a:r>
              <a:rPr lang="en-GB" dirty="0"/>
              <a:t>        </a:t>
            </a:r>
            <a:r>
              <a:rPr lang="en-GB" dirty="0" err="1"/>
              <a:t>custTable.AccountNum</a:t>
            </a:r>
            <a:r>
              <a:rPr lang="en-GB" dirty="0"/>
              <a:t>, </a:t>
            </a:r>
            <a:r>
              <a:rPr lang="en-GB" dirty="0" err="1"/>
              <a:t>custTable.Name</a:t>
            </a:r>
            <a:r>
              <a:rPr lang="en-GB" dirty="0"/>
              <a:t>, </a:t>
            </a:r>
            <a:r>
              <a:rPr lang="en-GB" dirty="0" err="1"/>
              <a:t>custTrans.InvoiceId</a:t>
            </a:r>
            <a:r>
              <a:rPr lang="en-GB" dirty="0"/>
              <a:t>, </a:t>
            </a:r>
            <a:r>
              <a:rPr lang="en-GB" dirty="0" err="1"/>
              <a:t>custTrans.TransDate</a:t>
            </a:r>
            <a:r>
              <a:rPr lang="en-GB" dirty="0"/>
              <a:t>));</a:t>
            </a:r>
          </a:p>
          <a:p>
            <a:pPr marL="0" indent="0">
              <a:buNone/>
            </a:pPr>
            <a:r>
              <a:rPr lang="en-GB" dirty="0"/>
              <a:t>}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A513F7-51EF-E6F7-84EF-5F84B3F52B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27</a:t>
            </a:fld>
            <a:endParaRPr lang="en-US" dirty="0"/>
          </a:p>
        </p:txBody>
      </p:sp>
      <p:sp>
        <p:nvSpPr>
          <p:cNvPr id="16" name="Rectángulo redondeado 14">
            <a:extLst>
              <a:ext uri="{FF2B5EF4-FFF2-40B4-BE49-F238E27FC236}">
                <a16:creationId xmlns:a16="http://schemas.microsoft.com/office/drawing/2014/main" id="{D4E4DA06-9240-E61C-1DD4-F743C15208DA}"/>
              </a:ext>
            </a:extLst>
          </p:cNvPr>
          <p:cNvSpPr/>
          <p:nvPr/>
        </p:nvSpPr>
        <p:spPr>
          <a:xfrm>
            <a:off x="207123" y="215979"/>
            <a:ext cx="9444878" cy="1214125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ángulo 12">
            <a:extLst>
              <a:ext uri="{FF2B5EF4-FFF2-40B4-BE49-F238E27FC236}">
                <a16:creationId xmlns:a16="http://schemas.microsoft.com/office/drawing/2014/main" id="{77E064E9-A778-33E3-0A89-8C8D2B7A795D}"/>
              </a:ext>
            </a:extLst>
          </p:cNvPr>
          <p:cNvSpPr/>
          <p:nvPr/>
        </p:nvSpPr>
        <p:spPr>
          <a:xfrm>
            <a:off x="676534" y="396696"/>
            <a:ext cx="7415414" cy="769441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Query Optimization - Good</a:t>
            </a:r>
          </a:p>
        </p:txBody>
      </p:sp>
      <p:pic>
        <p:nvPicPr>
          <p:cNvPr id="2" name="Content Placeholder 11" descr="A logo with a black background">
            <a:extLst>
              <a:ext uri="{FF2B5EF4-FFF2-40B4-BE49-F238E27FC236}">
                <a16:creationId xmlns:a16="http://schemas.microsoft.com/office/drawing/2014/main" id="{9C2A6F8A-FC32-44ED-463E-709EA05B930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0916" y="-84227"/>
            <a:ext cx="3751522" cy="2110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041430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5F62A0E-579F-406A-5268-072F17C0A2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group of colorful squares&#10;&#10;Description automatically generated">
            <a:extLst>
              <a:ext uri="{FF2B5EF4-FFF2-40B4-BE49-F238E27FC236}">
                <a16:creationId xmlns:a16="http://schemas.microsoft.com/office/drawing/2014/main" id="{F68A3A26-00EC-368F-F4FA-D8152D69FA7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87" y="6156644"/>
            <a:ext cx="597947" cy="597947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62403CB-AB61-D7C7-DC77-6C70F2040E8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en-GB" dirty="0" err="1"/>
              <a:t>qbdsCustTable</a:t>
            </a:r>
            <a:r>
              <a:rPr lang="en-GB" dirty="0"/>
              <a:t> = </a:t>
            </a:r>
            <a:r>
              <a:rPr lang="en-GB" dirty="0" err="1"/>
              <a:t>query.addDataSource</a:t>
            </a:r>
            <a:r>
              <a:rPr lang="en-GB" dirty="0"/>
              <a:t>(</a:t>
            </a:r>
            <a:r>
              <a:rPr lang="en-GB" dirty="0" err="1"/>
              <a:t>tableNum</a:t>
            </a:r>
            <a:r>
              <a:rPr lang="en-GB" dirty="0"/>
              <a:t>(</a:t>
            </a:r>
            <a:r>
              <a:rPr lang="en-GB" dirty="0" err="1"/>
              <a:t>CustTable</a:t>
            </a:r>
            <a:r>
              <a:rPr lang="en-GB" dirty="0"/>
              <a:t>));</a:t>
            </a:r>
          </a:p>
          <a:p>
            <a:pPr marL="0" indent="0">
              <a:buNone/>
            </a:pPr>
            <a:r>
              <a:rPr lang="en-GB" dirty="0" err="1"/>
              <a:t>qbdsCustTable.addRange</a:t>
            </a:r>
            <a:r>
              <a:rPr lang="en-GB" dirty="0"/>
              <a:t>(</a:t>
            </a:r>
            <a:r>
              <a:rPr lang="en-GB" dirty="0" err="1"/>
              <a:t>fieldNum</a:t>
            </a:r>
            <a:r>
              <a:rPr lang="en-GB" dirty="0"/>
              <a:t>(</a:t>
            </a:r>
            <a:r>
              <a:rPr lang="en-GB" dirty="0" err="1"/>
              <a:t>CustTable</a:t>
            </a:r>
            <a:r>
              <a:rPr lang="en-GB" dirty="0"/>
              <a:t>, </a:t>
            </a:r>
            <a:r>
              <a:rPr lang="en-GB" dirty="0" err="1"/>
              <a:t>AccountNum</a:t>
            </a:r>
            <a:r>
              <a:rPr lang="en-GB" dirty="0"/>
              <a:t>)).value(</a:t>
            </a:r>
            <a:r>
              <a:rPr lang="en-GB" dirty="0" err="1"/>
              <a:t>queryValue</a:t>
            </a:r>
            <a:r>
              <a:rPr lang="en-GB" dirty="0"/>
              <a:t>("1000"));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r>
              <a:rPr lang="en-GB" dirty="0" err="1"/>
              <a:t>qbdsCustTrans</a:t>
            </a:r>
            <a:r>
              <a:rPr lang="en-GB" dirty="0"/>
              <a:t> = </a:t>
            </a:r>
            <a:r>
              <a:rPr lang="en-GB" dirty="0" err="1"/>
              <a:t>qbdsCustTable.addDataSource</a:t>
            </a:r>
            <a:r>
              <a:rPr lang="en-GB" dirty="0"/>
              <a:t>(</a:t>
            </a:r>
            <a:r>
              <a:rPr lang="en-GB" dirty="0" err="1"/>
              <a:t>tableNum</a:t>
            </a:r>
            <a:r>
              <a:rPr lang="en-GB" dirty="0"/>
              <a:t>(</a:t>
            </a:r>
            <a:r>
              <a:rPr lang="en-GB" dirty="0" err="1"/>
              <a:t>CustTrans</a:t>
            </a:r>
            <a:r>
              <a:rPr lang="en-GB" dirty="0"/>
              <a:t>));</a:t>
            </a:r>
          </a:p>
          <a:p>
            <a:pPr marL="0" indent="0">
              <a:buNone/>
            </a:pPr>
            <a:r>
              <a:rPr lang="en-GB" dirty="0" err="1"/>
              <a:t>qbdsCustTrans.relations</a:t>
            </a:r>
            <a:r>
              <a:rPr lang="en-GB" dirty="0"/>
              <a:t>(true);</a:t>
            </a:r>
          </a:p>
          <a:p>
            <a:pPr marL="0" indent="0">
              <a:buNone/>
            </a:pPr>
            <a:r>
              <a:rPr lang="en-GB" dirty="0" err="1"/>
              <a:t>qbdsCustTrans.joinMode</a:t>
            </a:r>
            <a:r>
              <a:rPr lang="en-GB" dirty="0"/>
              <a:t>(</a:t>
            </a:r>
            <a:r>
              <a:rPr lang="en-GB" dirty="0" err="1"/>
              <a:t>JoinMode</a:t>
            </a:r>
            <a:r>
              <a:rPr lang="en-GB" dirty="0"/>
              <a:t>::</a:t>
            </a:r>
            <a:r>
              <a:rPr lang="en-GB" dirty="0" err="1"/>
              <a:t>InnerJoin</a:t>
            </a:r>
            <a:r>
              <a:rPr lang="en-GB" dirty="0"/>
              <a:t>);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r>
              <a:rPr lang="en-GB" dirty="0" err="1"/>
              <a:t>qbdsCustTrans.addRange</a:t>
            </a:r>
            <a:r>
              <a:rPr lang="en-GB" dirty="0"/>
              <a:t>(</a:t>
            </a:r>
            <a:r>
              <a:rPr lang="en-GB" dirty="0" err="1"/>
              <a:t>fieldNum</a:t>
            </a:r>
            <a:r>
              <a:rPr lang="en-GB" dirty="0"/>
              <a:t>(</a:t>
            </a:r>
            <a:r>
              <a:rPr lang="en-GB" dirty="0" err="1"/>
              <a:t>CustTrans</a:t>
            </a:r>
            <a:r>
              <a:rPr lang="en-GB" dirty="0"/>
              <a:t>, </a:t>
            </a:r>
            <a:r>
              <a:rPr lang="en-GB" dirty="0" err="1"/>
              <a:t>TransDate</a:t>
            </a:r>
            <a:r>
              <a:rPr lang="en-GB" dirty="0"/>
              <a:t>)).value(</a:t>
            </a:r>
            <a:r>
              <a:rPr lang="en-GB" dirty="0" err="1"/>
              <a:t>queryValue</a:t>
            </a:r>
            <a:r>
              <a:rPr lang="en-GB" dirty="0"/>
              <a:t>(</a:t>
            </a:r>
            <a:r>
              <a:rPr lang="en-GB" dirty="0" err="1"/>
              <a:t>systemDateGet</a:t>
            </a:r>
            <a:r>
              <a:rPr lang="en-GB" dirty="0"/>
              <a:t>() - 30));</a:t>
            </a:r>
          </a:p>
          <a:p>
            <a:pPr marL="0" indent="0">
              <a:buNone/>
            </a:pP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678E60-2052-F181-0993-058CC3C772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28</a:t>
            </a:fld>
            <a:endParaRPr lang="en-US" dirty="0"/>
          </a:p>
        </p:txBody>
      </p:sp>
      <p:sp>
        <p:nvSpPr>
          <p:cNvPr id="16" name="Rectángulo redondeado 14">
            <a:extLst>
              <a:ext uri="{FF2B5EF4-FFF2-40B4-BE49-F238E27FC236}">
                <a16:creationId xmlns:a16="http://schemas.microsoft.com/office/drawing/2014/main" id="{05117A4A-1EAA-99BF-4D9A-FC11A306BC9B}"/>
              </a:ext>
            </a:extLst>
          </p:cNvPr>
          <p:cNvSpPr/>
          <p:nvPr/>
        </p:nvSpPr>
        <p:spPr>
          <a:xfrm>
            <a:off x="207123" y="215979"/>
            <a:ext cx="9444878" cy="1214125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ángulo 12">
            <a:extLst>
              <a:ext uri="{FF2B5EF4-FFF2-40B4-BE49-F238E27FC236}">
                <a16:creationId xmlns:a16="http://schemas.microsoft.com/office/drawing/2014/main" id="{48B1CED2-B588-4003-472F-F6F9C840FB1C}"/>
              </a:ext>
            </a:extLst>
          </p:cNvPr>
          <p:cNvSpPr/>
          <p:nvPr/>
        </p:nvSpPr>
        <p:spPr>
          <a:xfrm>
            <a:off x="676534" y="396696"/>
            <a:ext cx="7415414" cy="769441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Query Optimization - Good</a:t>
            </a:r>
          </a:p>
        </p:txBody>
      </p:sp>
      <p:pic>
        <p:nvPicPr>
          <p:cNvPr id="2" name="Content Placeholder 11" descr="A logo with a black background">
            <a:extLst>
              <a:ext uri="{FF2B5EF4-FFF2-40B4-BE49-F238E27FC236}">
                <a16:creationId xmlns:a16="http://schemas.microsoft.com/office/drawing/2014/main" id="{5D6F9C12-181C-664C-FAAE-D377254995F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0916" y="-84227"/>
            <a:ext cx="3751522" cy="2110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941862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EDCE17-B531-B239-BAFE-74A6E5D6BE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group of colorful squares&#10;&#10;Description automatically generated">
            <a:extLst>
              <a:ext uri="{FF2B5EF4-FFF2-40B4-BE49-F238E27FC236}">
                <a16:creationId xmlns:a16="http://schemas.microsoft.com/office/drawing/2014/main" id="{B3D31B1D-B9BF-EFD5-EEC6-8DC9D22824B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87" y="6156644"/>
            <a:ext cx="597947" cy="597947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86B10F-1888-6288-AEDE-3133032C499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GB" dirty="0"/>
              <a:t>Ask the database for data as needed but ask for everything you may need upfront</a:t>
            </a:r>
          </a:p>
          <a:p>
            <a:r>
              <a:rPr lang="en-GB" dirty="0"/>
              <a:t>Opening/Closing transactions is the slowest part of any operation (typically)</a:t>
            </a:r>
          </a:p>
          <a:p>
            <a:r>
              <a:rPr lang="en-GB" dirty="0"/>
              <a:t>Only ask for what is needed</a:t>
            </a:r>
          </a:p>
          <a:p>
            <a:r>
              <a:rPr lang="en-GB" dirty="0"/>
              <a:t>Use Set Operations even if “downgrades” will happen</a:t>
            </a:r>
          </a:p>
          <a:p>
            <a:pPr lvl="1"/>
            <a:r>
              <a:rPr lang="en-GB" dirty="0"/>
              <a:t>Downgrade means convert from set to row based operation</a:t>
            </a:r>
          </a:p>
          <a:p>
            <a:pPr lvl="1"/>
            <a:r>
              <a:rPr lang="en-GB" dirty="0"/>
              <a:t>If a table has a insert(), update(), or delete() on it, this will result in a downgrade</a:t>
            </a:r>
          </a:p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78FAB5A-FC36-EF8A-2107-B657D66844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29</a:t>
            </a:fld>
            <a:endParaRPr lang="en-US" dirty="0"/>
          </a:p>
        </p:txBody>
      </p:sp>
      <p:sp>
        <p:nvSpPr>
          <p:cNvPr id="16" name="Rectángulo redondeado 14">
            <a:extLst>
              <a:ext uri="{FF2B5EF4-FFF2-40B4-BE49-F238E27FC236}">
                <a16:creationId xmlns:a16="http://schemas.microsoft.com/office/drawing/2014/main" id="{DD0F0FB2-C96B-BBBC-05B2-32CFFA79F561}"/>
              </a:ext>
            </a:extLst>
          </p:cNvPr>
          <p:cNvSpPr/>
          <p:nvPr/>
        </p:nvSpPr>
        <p:spPr>
          <a:xfrm>
            <a:off x="207123" y="215979"/>
            <a:ext cx="9444878" cy="1214125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ángulo 12">
            <a:extLst>
              <a:ext uri="{FF2B5EF4-FFF2-40B4-BE49-F238E27FC236}">
                <a16:creationId xmlns:a16="http://schemas.microsoft.com/office/drawing/2014/main" id="{C2130419-8E47-4B71-35EC-CC4D253FA3CA}"/>
              </a:ext>
            </a:extLst>
          </p:cNvPr>
          <p:cNvSpPr/>
          <p:nvPr/>
        </p:nvSpPr>
        <p:spPr>
          <a:xfrm>
            <a:off x="676534" y="396696"/>
            <a:ext cx="7415414" cy="769441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Database General Advice</a:t>
            </a:r>
          </a:p>
        </p:txBody>
      </p:sp>
      <p:pic>
        <p:nvPicPr>
          <p:cNvPr id="2" name="Content Placeholder 11" descr="A logo with a black background">
            <a:extLst>
              <a:ext uri="{FF2B5EF4-FFF2-40B4-BE49-F238E27FC236}">
                <a16:creationId xmlns:a16="http://schemas.microsoft.com/office/drawing/2014/main" id="{A60847EB-BE71-8C4B-7224-5881A67F41E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0916" y="-84227"/>
            <a:ext cx="3751522" cy="2110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67636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F853C7B9-AF01-1229-F2C2-DDFE09B03437}"/>
              </a:ext>
            </a:extLst>
          </p:cNvPr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4721832B-34DB-D68A-907E-A6D2D4B13A9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19200" y="0"/>
              <a:ext cx="10972800" cy="6858000"/>
            </a:xfrm>
            <a:prstGeom prst="rect">
              <a:avLst/>
            </a:prstGeom>
          </p:spPr>
        </p:pic>
        <p:pic>
          <p:nvPicPr>
            <p:cNvPr id="6" name="Picture 5" descr="Background pattern&#10;&#10;Description automatically generated">
              <a:extLst>
                <a:ext uri="{FF2B5EF4-FFF2-40B4-BE49-F238E27FC236}">
                  <a16:creationId xmlns:a16="http://schemas.microsoft.com/office/drawing/2014/main" id="{69371DD7-5808-031E-4E00-C353F6B6E2F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0" y="0"/>
              <a:ext cx="10972800" cy="6858000"/>
            </a:xfrm>
            <a:prstGeom prst="rect">
              <a:avLst/>
            </a:prstGeom>
          </p:spPr>
        </p:pic>
      </p:grpSp>
      <p:pic>
        <p:nvPicPr>
          <p:cNvPr id="3" name="Picture 2" descr="A white machine made of legos&#10;&#10;Description automatically generated">
            <a:extLst>
              <a:ext uri="{FF2B5EF4-FFF2-40B4-BE49-F238E27FC236}">
                <a16:creationId xmlns:a16="http://schemas.microsoft.com/office/drawing/2014/main" id="{015C3AFA-190E-0DCE-C174-6195E6DEE98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9E073D2-D02C-4602-90E7-2FBE431ADCA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9E073D2-D02C-4602-90E7-2FBE431ADC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 descr="A group of colorful squares&#10;&#10;Description automatically generated">
            <a:extLst>
              <a:ext uri="{FF2B5EF4-FFF2-40B4-BE49-F238E27FC236}">
                <a16:creationId xmlns:a16="http://schemas.microsoft.com/office/drawing/2014/main" id="{4C8655A2-602C-83EB-C16D-E491603512C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580" y="189812"/>
            <a:ext cx="796485" cy="796485"/>
          </a:xfrm>
          <a:prstGeom prst="rect">
            <a:avLst/>
          </a:prstGeom>
        </p:spPr>
      </p:pic>
      <p:pic>
        <p:nvPicPr>
          <p:cNvPr id="8" name="Picture 7" descr="A toy building set with a blue figure&#10;&#10;Description automatically generated with medium confidence">
            <a:extLst>
              <a:ext uri="{FF2B5EF4-FFF2-40B4-BE49-F238E27FC236}">
                <a16:creationId xmlns:a16="http://schemas.microsoft.com/office/drawing/2014/main" id="{DE64F1D0-FA32-DFA8-FED4-B827DBE2FE7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6727" y="0"/>
            <a:ext cx="7487693" cy="7099506"/>
          </a:xfrm>
          <a:prstGeom prst="rect">
            <a:avLst/>
          </a:prstGeom>
        </p:spPr>
      </p:pic>
      <p:pic>
        <p:nvPicPr>
          <p:cNvPr id="10" name="Picture 4">
            <a:extLst>
              <a:ext uri="{FF2B5EF4-FFF2-40B4-BE49-F238E27FC236}">
                <a16:creationId xmlns:a16="http://schemas.microsoft.com/office/drawing/2014/main" id="{FDEC2C2B-32BA-35D0-B837-DF1FEA6AE0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1771" y="4709518"/>
            <a:ext cx="1714390" cy="19787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 descr="A toy figure with a black mask and a black helmet&#10;&#10;Description automatically generated with medium confidence">
            <a:extLst>
              <a:ext uri="{FF2B5EF4-FFF2-40B4-BE49-F238E27FC236}">
                <a16:creationId xmlns:a16="http://schemas.microsoft.com/office/drawing/2014/main" id="{939DA641-157E-E6E4-F8B8-CEDF4E16836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0418" y="4065163"/>
            <a:ext cx="1329997" cy="3137508"/>
          </a:xfrm>
          <a:prstGeom prst="rect">
            <a:avLst/>
          </a:prstGeom>
        </p:spPr>
      </p:pic>
      <p:pic>
        <p:nvPicPr>
          <p:cNvPr id="15" name="Picture 14" descr="A white robot with a black background&#10;&#10;Description automatically generated">
            <a:extLst>
              <a:ext uri="{FF2B5EF4-FFF2-40B4-BE49-F238E27FC236}">
                <a16:creationId xmlns:a16="http://schemas.microsoft.com/office/drawing/2014/main" id="{51851ECE-98D7-0D60-CBC3-8A05CC0CF180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8990" y="4810911"/>
            <a:ext cx="2391760" cy="2391760"/>
          </a:xfrm>
          <a:prstGeom prst="rect">
            <a:avLst/>
          </a:prstGeom>
        </p:spPr>
      </p:pic>
      <p:pic>
        <p:nvPicPr>
          <p:cNvPr id="27" name="Picture 26" descr="A white toy with black stripes and a white helmet&#10;&#10;Description automatically generated with medium confidence">
            <a:extLst>
              <a:ext uri="{FF2B5EF4-FFF2-40B4-BE49-F238E27FC236}">
                <a16:creationId xmlns:a16="http://schemas.microsoft.com/office/drawing/2014/main" id="{99709725-3800-BF14-FAE5-104B984A25BA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958846"/>
            <a:ext cx="1337990" cy="3145918"/>
          </a:xfrm>
          <a:prstGeom prst="rect">
            <a:avLst/>
          </a:prstGeom>
        </p:spPr>
      </p:pic>
      <p:pic>
        <p:nvPicPr>
          <p:cNvPr id="13" name="Picture 12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ADF57435-FE53-005C-4E82-CF71934B5DF7}"/>
              </a:ext>
            </a:extLst>
          </p:cNvPr>
          <p:cNvPicPr>
            <a:picLocks noChangeAspect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322" t="16130" r="4366" b="24576"/>
          <a:stretch/>
        </p:blipFill>
        <p:spPr>
          <a:xfrm>
            <a:off x="954545" y="189811"/>
            <a:ext cx="1873338" cy="626145"/>
          </a:xfrm>
          <a:prstGeom prst="rect">
            <a:avLst/>
          </a:prstGeom>
        </p:spPr>
      </p:pic>
      <p:pic>
        <p:nvPicPr>
          <p:cNvPr id="17" name="Picture 16" descr="A logo for a company">
            <a:extLst>
              <a:ext uri="{FF2B5EF4-FFF2-40B4-BE49-F238E27FC236}">
                <a16:creationId xmlns:a16="http://schemas.microsoft.com/office/drawing/2014/main" id="{E3E4AADF-43ED-19E1-3EC0-112833B2A90F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1444471">
            <a:off x="-2334168" y="-102273"/>
            <a:ext cx="10857535" cy="61073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060111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AB2593-B0FF-8B14-8950-47F6E83F7C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group of colorful squares&#10;&#10;Description automatically generated">
            <a:extLst>
              <a:ext uri="{FF2B5EF4-FFF2-40B4-BE49-F238E27FC236}">
                <a16:creationId xmlns:a16="http://schemas.microsoft.com/office/drawing/2014/main" id="{F1244079-B0E3-0072-8198-A005FCB30F8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87" y="6156644"/>
            <a:ext cx="597947" cy="597947"/>
          </a:xfrm>
          <a:prstGeom prst="rect">
            <a:avLst/>
          </a:prstGeom>
        </p:spPr>
      </p:pic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6976BFD3-1278-9102-B755-D73ABCC04CC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85804726"/>
              </p:ext>
            </p:extLst>
          </p:nvPr>
        </p:nvGraphicFramePr>
        <p:xfrm>
          <a:off x="266700" y="1730310"/>
          <a:ext cx="11658600" cy="4361433"/>
        </p:xfrm>
        <a:graphic>
          <a:graphicData uri="http://schemas.openxmlformats.org/drawingml/2006/table">
            <a:tbl>
              <a:tblPr>
                <a:tableStyleId>{69C7853C-536D-4A76-A0AE-DD22124D55A5}</a:tableStyleId>
              </a:tblPr>
              <a:tblGrid>
                <a:gridCol w="1943100">
                  <a:extLst>
                    <a:ext uri="{9D8B030D-6E8A-4147-A177-3AD203B41FA5}">
                      <a16:colId xmlns:a16="http://schemas.microsoft.com/office/drawing/2014/main" val="483236893"/>
                    </a:ext>
                  </a:extLst>
                </a:gridCol>
                <a:gridCol w="1943100">
                  <a:extLst>
                    <a:ext uri="{9D8B030D-6E8A-4147-A177-3AD203B41FA5}">
                      <a16:colId xmlns:a16="http://schemas.microsoft.com/office/drawing/2014/main" val="3808436066"/>
                    </a:ext>
                  </a:extLst>
                </a:gridCol>
                <a:gridCol w="1943100">
                  <a:extLst>
                    <a:ext uri="{9D8B030D-6E8A-4147-A177-3AD203B41FA5}">
                      <a16:colId xmlns:a16="http://schemas.microsoft.com/office/drawing/2014/main" val="1874838668"/>
                    </a:ext>
                  </a:extLst>
                </a:gridCol>
                <a:gridCol w="1943100">
                  <a:extLst>
                    <a:ext uri="{9D8B030D-6E8A-4147-A177-3AD203B41FA5}">
                      <a16:colId xmlns:a16="http://schemas.microsoft.com/office/drawing/2014/main" val="3047118769"/>
                    </a:ext>
                  </a:extLst>
                </a:gridCol>
                <a:gridCol w="1943100">
                  <a:extLst>
                    <a:ext uri="{9D8B030D-6E8A-4147-A177-3AD203B41FA5}">
                      <a16:colId xmlns:a16="http://schemas.microsoft.com/office/drawing/2014/main" val="4193072756"/>
                    </a:ext>
                  </a:extLst>
                </a:gridCol>
                <a:gridCol w="1943100">
                  <a:extLst>
                    <a:ext uri="{9D8B030D-6E8A-4147-A177-3AD203B41FA5}">
                      <a16:colId xmlns:a16="http://schemas.microsoft.com/office/drawing/2014/main" val="1551300749"/>
                    </a:ext>
                  </a:extLst>
                </a:gridCol>
              </a:tblGrid>
              <a:tr h="689846"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Situation</a:t>
                      </a:r>
                    </a:p>
                  </a:txBody>
                  <a:tcPr marL="53065" marR="53065" marT="26533" marB="26533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>
                          <a:solidFill>
                            <a:schemeClr val="tx1"/>
                          </a:solidFill>
                          <a:effectLst/>
                        </a:rPr>
                        <a:t>delete_from</a:t>
                      </a:r>
                    </a:p>
                  </a:txBody>
                  <a:tcPr marL="53065" marR="53065" marT="26533" marB="26533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>
                          <a:solidFill>
                            <a:schemeClr val="tx1"/>
                          </a:solidFill>
                          <a:effectLst/>
                        </a:rPr>
                        <a:t>update_recordset</a:t>
                      </a:r>
                    </a:p>
                  </a:txBody>
                  <a:tcPr marL="53065" marR="53065" marT="26533" marB="26533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>
                          <a:solidFill>
                            <a:schemeClr val="tx1"/>
                          </a:solidFill>
                          <a:effectLst/>
                        </a:rPr>
                        <a:t>insert_recordset</a:t>
                      </a:r>
                    </a:p>
                  </a:txBody>
                  <a:tcPr marL="53065" marR="53065" marT="26533" marB="26533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>
                          <a:solidFill>
                            <a:schemeClr val="tx1"/>
                          </a:solidFill>
                          <a:effectLst/>
                        </a:rPr>
                        <a:t>RecordSortedList, RecordInsertList</a:t>
                      </a:r>
                    </a:p>
                  </a:txBody>
                  <a:tcPr marL="53065" marR="53065" marT="26533" marB="26533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>
                          <a:solidFill>
                            <a:schemeClr val="tx1"/>
                          </a:solidFill>
                          <a:effectLst/>
                        </a:rPr>
                        <a:t>Used to override</a:t>
                      </a:r>
                    </a:p>
                  </a:txBody>
                  <a:tcPr marL="53065" marR="53065" marT="26533" marB="26533"/>
                </a:tc>
                <a:extLst>
                  <a:ext uri="{0D108BD9-81ED-4DB2-BD59-A6C34878D82A}">
                    <a16:rowId xmlns:a16="http://schemas.microsoft.com/office/drawing/2014/main" val="3761081930"/>
                  </a:ext>
                </a:extLst>
              </a:tr>
              <a:tr h="371456"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>
                          <a:solidFill>
                            <a:schemeClr val="tx1"/>
                          </a:solidFill>
                          <a:effectLst/>
                        </a:rPr>
                        <a:t>Non-SQL tables</a:t>
                      </a:r>
                    </a:p>
                  </a:txBody>
                  <a:tcPr marL="53065" marR="53065" marT="26533" marB="26533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>
                          <a:solidFill>
                            <a:schemeClr val="tx1"/>
                          </a:solidFill>
                          <a:effectLst/>
                        </a:rPr>
                        <a:t>Yes</a:t>
                      </a:r>
                    </a:p>
                  </a:txBody>
                  <a:tcPr marL="53065" marR="53065" marT="26533" marB="26533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>
                          <a:solidFill>
                            <a:schemeClr val="tx1"/>
                          </a:solidFill>
                          <a:effectLst/>
                        </a:rPr>
                        <a:t>Yes</a:t>
                      </a:r>
                    </a:p>
                  </a:txBody>
                  <a:tcPr marL="53065" marR="53065" marT="26533" marB="26533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>
                          <a:solidFill>
                            <a:schemeClr val="tx1"/>
                          </a:solidFill>
                          <a:effectLst/>
                        </a:rPr>
                        <a:t>Yes</a:t>
                      </a:r>
                    </a:p>
                  </a:txBody>
                  <a:tcPr marL="53065" marR="53065" marT="26533" marB="26533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>
                          <a:solidFill>
                            <a:schemeClr val="tx1"/>
                          </a:solidFill>
                          <a:effectLst/>
                        </a:rPr>
                        <a:t>Yes</a:t>
                      </a:r>
                    </a:p>
                  </a:txBody>
                  <a:tcPr marL="53065" marR="53065" marT="26533" marB="26533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>
                          <a:solidFill>
                            <a:schemeClr val="tx1"/>
                          </a:solidFill>
                          <a:effectLst/>
                        </a:rPr>
                        <a:t>Not applicable</a:t>
                      </a:r>
                    </a:p>
                  </a:txBody>
                  <a:tcPr marL="53065" marR="53065" marT="26533" marB="26533"/>
                </a:tc>
                <a:extLst>
                  <a:ext uri="{0D108BD9-81ED-4DB2-BD59-A6C34878D82A}">
                    <a16:rowId xmlns:a16="http://schemas.microsoft.com/office/drawing/2014/main" val="69291090"/>
                  </a:ext>
                </a:extLst>
              </a:tr>
              <a:tr h="371456"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>
                          <a:solidFill>
                            <a:schemeClr val="tx1"/>
                          </a:solidFill>
                          <a:effectLst/>
                        </a:rPr>
                        <a:t>Delete actions</a:t>
                      </a:r>
                    </a:p>
                  </a:txBody>
                  <a:tcPr marL="53065" marR="53065" marT="26533" marB="26533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>
                          <a:solidFill>
                            <a:schemeClr val="tx1"/>
                          </a:solidFill>
                          <a:effectLst/>
                        </a:rPr>
                        <a:t>Yes</a:t>
                      </a:r>
                    </a:p>
                  </a:txBody>
                  <a:tcPr marL="53065" marR="53065" marT="26533" marB="26533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>
                          <a:solidFill>
                            <a:schemeClr val="tx1"/>
                          </a:solidFill>
                          <a:effectLst/>
                        </a:rPr>
                        <a:t>No</a:t>
                      </a:r>
                    </a:p>
                  </a:txBody>
                  <a:tcPr marL="53065" marR="53065" marT="26533" marB="26533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>
                          <a:solidFill>
                            <a:schemeClr val="tx1"/>
                          </a:solidFill>
                          <a:effectLst/>
                        </a:rPr>
                        <a:t>No</a:t>
                      </a:r>
                    </a:p>
                  </a:txBody>
                  <a:tcPr marL="53065" marR="53065" marT="26533" marB="26533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>
                          <a:solidFill>
                            <a:schemeClr val="tx1"/>
                          </a:solidFill>
                          <a:effectLst/>
                        </a:rPr>
                        <a:t>No</a:t>
                      </a:r>
                    </a:p>
                  </a:txBody>
                  <a:tcPr marL="53065" marR="53065" marT="26533" marB="26533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b="1">
                          <a:solidFill>
                            <a:schemeClr val="tx1"/>
                          </a:solidFill>
                          <a:effectLst/>
                        </a:rPr>
                        <a:t>skipDeleteActions</a:t>
                      </a:r>
                      <a:endParaRPr lang="en-US" sz="160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53065" marR="53065" marT="26533" marB="26533"/>
                </a:tc>
                <a:extLst>
                  <a:ext uri="{0D108BD9-81ED-4DB2-BD59-A6C34878D82A}">
                    <a16:rowId xmlns:a16="http://schemas.microsoft.com/office/drawing/2014/main" val="3032966049"/>
                  </a:ext>
                </a:extLst>
              </a:tr>
              <a:tr h="689846"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>
                          <a:solidFill>
                            <a:schemeClr val="tx1"/>
                          </a:solidFill>
                          <a:effectLst/>
                        </a:rPr>
                        <a:t>The database log is enabled.</a:t>
                      </a:r>
                    </a:p>
                  </a:txBody>
                  <a:tcPr marL="53065" marR="53065" marT="26533" marB="26533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>
                          <a:solidFill>
                            <a:schemeClr val="tx1"/>
                          </a:solidFill>
                          <a:effectLst/>
                        </a:rPr>
                        <a:t>Yes</a:t>
                      </a:r>
                    </a:p>
                  </a:txBody>
                  <a:tcPr marL="53065" marR="53065" marT="26533" marB="26533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>
                          <a:solidFill>
                            <a:schemeClr val="tx1"/>
                          </a:solidFill>
                          <a:effectLst/>
                        </a:rPr>
                        <a:t>Yes</a:t>
                      </a:r>
                    </a:p>
                  </a:txBody>
                  <a:tcPr marL="53065" marR="53065" marT="26533" marB="26533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>
                          <a:solidFill>
                            <a:schemeClr val="tx1"/>
                          </a:solidFill>
                          <a:effectLst/>
                        </a:rPr>
                        <a:t>Yes</a:t>
                      </a:r>
                    </a:p>
                  </a:txBody>
                  <a:tcPr marL="53065" marR="53065" marT="26533" marB="26533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>
                          <a:solidFill>
                            <a:schemeClr val="tx1"/>
                          </a:solidFill>
                          <a:effectLst/>
                        </a:rPr>
                        <a:t>No</a:t>
                      </a:r>
                    </a:p>
                  </a:txBody>
                  <a:tcPr marL="53065" marR="53065" marT="26533" marB="26533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b="1">
                          <a:solidFill>
                            <a:schemeClr val="tx1"/>
                          </a:solidFill>
                          <a:effectLst/>
                        </a:rPr>
                        <a:t>skipDatabaseLog</a:t>
                      </a:r>
                      <a:endParaRPr lang="en-US" sz="160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53065" marR="53065" marT="26533" marB="26533"/>
                </a:tc>
                <a:extLst>
                  <a:ext uri="{0D108BD9-81ED-4DB2-BD59-A6C34878D82A}">
                    <a16:rowId xmlns:a16="http://schemas.microsoft.com/office/drawing/2014/main" val="1149616603"/>
                  </a:ext>
                </a:extLst>
              </a:tr>
              <a:tr h="371456"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>
                          <a:solidFill>
                            <a:schemeClr val="tx1"/>
                          </a:solidFill>
                          <a:effectLst/>
                        </a:rPr>
                        <a:t>Overridden method</a:t>
                      </a:r>
                    </a:p>
                  </a:txBody>
                  <a:tcPr marL="53065" marR="53065" marT="26533" marB="26533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>
                          <a:solidFill>
                            <a:schemeClr val="tx1"/>
                          </a:solidFill>
                          <a:effectLst/>
                        </a:rPr>
                        <a:t>Yes</a:t>
                      </a:r>
                    </a:p>
                  </a:txBody>
                  <a:tcPr marL="53065" marR="53065" marT="26533" marB="26533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>
                          <a:solidFill>
                            <a:schemeClr val="tx1"/>
                          </a:solidFill>
                          <a:effectLst/>
                        </a:rPr>
                        <a:t>Yes</a:t>
                      </a:r>
                    </a:p>
                  </a:txBody>
                  <a:tcPr marL="53065" marR="53065" marT="26533" marB="26533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>
                          <a:solidFill>
                            <a:schemeClr val="tx1"/>
                          </a:solidFill>
                          <a:effectLst/>
                        </a:rPr>
                        <a:t>Yes</a:t>
                      </a:r>
                    </a:p>
                  </a:txBody>
                  <a:tcPr marL="53065" marR="53065" marT="26533" marB="26533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>
                          <a:solidFill>
                            <a:schemeClr val="tx1"/>
                          </a:solidFill>
                          <a:effectLst/>
                        </a:rPr>
                        <a:t>Yes</a:t>
                      </a:r>
                    </a:p>
                  </a:txBody>
                  <a:tcPr marL="53065" marR="53065" marT="26533" marB="26533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b="1">
                          <a:solidFill>
                            <a:schemeClr val="tx1"/>
                          </a:solidFill>
                          <a:effectLst/>
                        </a:rPr>
                        <a:t>skipDataMethods</a:t>
                      </a:r>
                      <a:endParaRPr lang="en-US" sz="160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53065" marR="53065" marT="26533" marB="26533"/>
                </a:tc>
                <a:extLst>
                  <a:ext uri="{0D108BD9-81ED-4DB2-BD59-A6C34878D82A}">
                    <a16:rowId xmlns:a16="http://schemas.microsoft.com/office/drawing/2014/main" val="534251519"/>
                  </a:ext>
                </a:extLst>
              </a:tr>
              <a:tr h="530651"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>
                          <a:solidFill>
                            <a:schemeClr val="tx1"/>
                          </a:solidFill>
                          <a:effectLst/>
                        </a:rPr>
                        <a:t>Alerts are set up for the table.</a:t>
                      </a:r>
                    </a:p>
                  </a:txBody>
                  <a:tcPr marL="53065" marR="53065" marT="26533" marB="26533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>
                          <a:solidFill>
                            <a:schemeClr val="tx1"/>
                          </a:solidFill>
                          <a:effectLst/>
                        </a:rPr>
                        <a:t>Yes</a:t>
                      </a:r>
                    </a:p>
                  </a:txBody>
                  <a:tcPr marL="53065" marR="53065" marT="26533" marB="26533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>
                          <a:solidFill>
                            <a:schemeClr val="tx1"/>
                          </a:solidFill>
                          <a:effectLst/>
                        </a:rPr>
                        <a:t>Yes</a:t>
                      </a:r>
                    </a:p>
                  </a:txBody>
                  <a:tcPr marL="53065" marR="53065" marT="26533" marB="26533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>
                          <a:solidFill>
                            <a:schemeClr val="tx1"/>
                          </a:solidFill>
                          <a:effectLst/>
                        </a:rPr>
                        <a:t>Yes</a:t>
                      </a:r>
                    </a:p>
                  </a:txBody>
                  <a:tcPr marL="53065" marR="53065" marT="26533" marB="26533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>
                          <a:solidFill>
                            <a:schemeClr val="tx1"/>
                          </a:solidFill>
                          <a:effectLst/>
                        </a:rPr>
                        <a:t>No</a:t>
                      </a:r>
                    </a:p>
                  </a:txBody>
                  <a:tcPr marL="53065" marR="53065" marT="26533" marB="26533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b="1">
                          <a:solidFill>
                            <a:schemeClr val="tx1"/>
                          </a:solidFill>
                          <a:effectLst/>
                        </a:rPr>
                        <a:t>skipEvents</a:t>
                      </a:r>
                      <a:endParaRPr lang="en-US" sz="160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53065" marR="53065" marT="26533" marB="26533"/>
                </a:tc>
                <a:extLst>
                  <a:ext uri="{0D108BD9-81ED-4DB2-BD59-A6C34878D82A}">
                    <a16:rowId xmlns:a16="http://schemas.microsoft.com/office/drawing/2014/main" val="1085200409"/>
                  </a:ext>
                </a:extLst>
              </a:tr>
              <a:tr h="1326627"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>
                          <a:solidFill>
                            <a:schemeClr val="tx1"/>
                          </a:solidFill>
                          <a:effectLst/>
                        </a:rPr>
                        <a:t>The </a:t>
                      </a:r>
                      <a:r>
                        <a:rPr lang="en-US" sz="1600" b="1">
                          <a:solidFill>
                            <a:schemeClr val="tx1"/>
                          </a:solidFill>
                          <a:effectLst/>
                        </a:rPr>
                        <a:t>ValidTimeStateFieldType</a:t>
                      </a:r>
                      <a:r>
                        <a:rPr lang="en-US" sz="1600">
                          <a:solidFill>
                            <a:schemeClr val="tx1"/>
                          </a:solidFill>
                          <a:effectLst/>
                        </a:rPr>
                        <a:t> property on a table is set to a value other than </a:t>
                      </a:r>
                      <a:r>
                        <a:rPr lang="en-US" sz="1600" b="1">
                          <a:solidFill>
                            <a:schemeClr val="tx1"/>
                          </a:solidFill>
                          <a:effectLst/>
                        </a:rPr>
                        <a:t>None</a:t>
                      </a:r>
                      <a:r>
                        <a:rPr lang="en-US" sz="1600">
                          <a:solidFill>
                            <a:schemeClr val="tx1"/>
                          </a:solidFill>
                          <a:effectLst/>
                        </a:rPr>
                        <a:t>.</a:t>
                      </a:r>
                    </a:p>
                  </a:txBody>
                  <a:tcPr marL="53065" marR="53065" marT="26533" marB="26533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>
                          <a:solidFill>
                            <a:schemeClr val="tx1"/>
                          </a:solidFill>
                          <a:effectLst/>
                        </a:rPr>
                        <a:t>Yes</a:t>
                      </a:r>
                    </a:p>
                  </a:txBody>
                  <a:tcPr marL="53065" marR="53065" marT="26533" marB="26533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>
                          <a:solidFill>
                            <a:schemeClr val="tx1"/>
                          </a:solidFill>
                          <a:effectLst/>
                        </a:rPr>
                        <a:t>Yes</a:t>
                      </a:r>
                    </a:p>
                  </a:txBody>
                  <a:tcPr marL="53065" marR="53065" marT="26533" marB="26533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>
                          <a:solidFill>
                            <a:schemeClr val="tx1"/>
                          </a:solidFill>
                          <a:effectLst/>
                        </a:rPr>
                        <a:t>Yes</a:t>
                      </a:r>
                    </a:p>
                  </a:txBody>
                  <a:tcPr marL="53065" marR="53065" marT="26533" marB="26533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>
                          <a:solidFill>
                            <a:schemeClr val="tx1"/>
                          </a:solidFill>
                          <a:effectLst/>
                        </a:rPr>
                        <a:t>Yes</a:t>
                      </a:r>
                    </a:p>
                  </a:txBody>
                  <a:tcPr marL="53065" marR="53065" marT="26533" marB="26533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Not applicable</a:t>
                      </a:r>
                    </a:p>
                  </a:txBody>
                  <a:tcPr marL="53065" marR="53065" marT="26533" marB="26533"/>
                </a:tc>
                <a:extLst>
                  <a:ext uri="{0D108BD9-81ED-4DB2-BD59-A6C34878D82A}">
                    <a16:rowId xmlns:a16="http://schemas.microsoft.com/office/drawing/2014/main" val="3275311003"/>
                  </a:ext>
                </a:extLst>
              </a:tr>
            </a:tbl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CB8EDD2-EA8B-E25D-562D-FFC0B869B6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30</a:t>
            </a:fld>
            <a:endParaRPr lang="en-US" dirty="0"/>
          </a:p>
        </p:txBody>
      </p:sp>
      <p:sp>
        <p:nvSpPr>
          <p:cNvPr id="16" name="Rectángulo redondeado 14">
            <a:extLst>
              <a:ext uri="{FF2B5EF4-FFF2-40B4-BE49-F238E27FC236}">
                <a16:creationId xmlns:a16="http://schemas.microsoft.com/office/drawing/2014/main" id="{21F60EE7-4444-25EC-2FDE-5EDAEA54B06D}"/>
              </a:ext>
            </a:extLst>
          </p:cNvPr>
          <p:cNvSpPr/>
          <p:nvPr/>
        </p:nvSpPr>
        <p:spPr>
          <a:xfrm>
            <a:off x="207123" y="215979"/>
            <a:ext cx="9444878" cy="1214125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ángulo 12">
            <a:extLst>
              <a:ext uri="{FF2B5EF4-FFF2-40B4-BE49-F238E27FC236}">
                <a16:creationId xmlns:a16="http://schemas.microsoft.com/office/drawing/2014/main" id="{50C34FCF-A15E-8B1B-DE55-EB2D42ED9236}"/>
              </a:ext>
            </a:extLst>
          </p:cNvPr>
          <p:cNvSpPr/>
          <p:nvPr/>
        </p:nvSpPr>
        <p:spPr>
          <a:xfrm>
            <a:off x="676534" y="396696"/>
            <a:ext cx="7415414" cy="769441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“downgrades”</a:t>
            </a:r>
          </a:p>
        </p:txBody>
      </p:sp>
      <p:pic>
        <p:nvPicPr>
          <p:cNvPr id="2" name="Content Placeholder 11" descr="A logo with a black background">
            <a:extLst>
              <a:ext uri="{FF2B5EF4-FFF2-40B4-BE49-F238E27FC236}">
                <a16:creationId xmlns:a16="http://schemas.microsoft.com/office/drawing/2014/main" id="{6131AC5D-353B-9904-2E09-E2254E7761A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0916" y="-84227"/>
            <a:ext cx="3751522" cy="2110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798058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0CA4E7-2904-320F-650B-8B719DDBE4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group of colorful squares&#10;&#10;Description automatically generated">
            <a:extLst>
              <a:ext uri="{FF2B5EF4-FFF2-40B4-BE49-F238E27FC236}">
                <a16:creationId xmlns:a16="http://schemas.microsoft.com/office/drawing/2014/main" id="{2566A524-354B-59ED-E1BD-21DF63A9840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87" y="6156644"/>
            <a:ext cx="597947" cy="597947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9EF55E0-2728-3088-26E4-363B2757117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3200" dirty="0"/>
              <a:t>Task Recording</a:t>
            </a:r>
          </a:p>
          <a:p>
            <a:r>
              <a:rPr lang="en-US" sz="3200" dirty="0"/>
              <a:t>Include Word Doc, Developer recording, and .</a:t>
            </a:r>
            <a:r>
              <a:rPr lang="en-US" sz="3200" dirty="0" err="1"/>
              <a:t>axtr</a:t>
            </a:r>
            <a:endParaRPr lang="en-US" sz="3200" dirty="0"/>
          </a:p>
          <a:p>
            <a:r>
              <a:rPr lang="en-US" sz="3200" dirty="0"/>
              <a:t>Include the legal entity/company, date and time of day with time zone</a:t>
            </a:r>
          </a:p>
          <a:p>
            <a:r>
              <a:rPr lang="en-US" sz="3200" dirty="0"/>
              <a:t>Use Teams to record your screen if you can ( have a meeting with yourself )</a:t>
            </a:r>
          </a:p>
          <a:p>
            <a:endParaRPr lang="en-GB" sz="3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8A824CD-67E6-AA6D-56D8-5D996DF647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31</a:t>
            </a:fld>
            <a:endParaRPr lang="en-US" dirty="0"/>
          </a:p>
        </p:txBody>
      </p:sp>
      <p:sp>
        <p:nvSpPr>
          <p:cNvPr id="16" name="Rectángulo redondeado 14">
            <a:extLst>
              <a:ext uri="{FF2B5EF4-FFF2-40B4-BE49-F238E27FC236}">
                <a16:creationId xmlns:a16="http://schemas.microsoft.com/office/drawing/2014/main" id="{CA1AC14D-28A0-84E8-0C3B-2D59EB1B0FE8}"/>
              </a:ext>
            </a:extLst>
          </p:cNvPr>
          <p:cNvSpPr/>
          <p:nvPr/>
        </p:nvSpPr>
        <p:spPr>
          <a:xfrm>
            <a:off x="207123" y="215979"/>
            <a:ext cx="9444878" cy="1214125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ángulo 12">
            <a:extLst>
              <a:ext uri="{FF2B5EF4-FFF2-40B4-BE49-F238E27FC236}">
                <a16:creationId xmlns:a16="http://schemas.microsoft.com/office/drawing/2014/main" id="{DF7E9924-051A-9621-DB09-EA6DB0F06CB2}"/>
              </a:ext>
            </a:extLst>
          </p:cNvPr>
          <p:cNvSpPr/>
          <p:nvPr/>
        </p:nvSpPr>
        <p:spPr>
          <a:xfrm>
            <a:off x="676534" y="396696"/>
            <a:ext cx="7415414" cy="769441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Troubleshooting</a:t>
            </a:r>
          </a:p>
        </p:txBody>
      </p:sp>
      <p:pic>
        <p:nvPicPr>
          <p:cNvPr id="2" name="Content Placeholder 11" descr="A logo with a black background">
            <a:extLst>
              <a:ext uri="{FF2B5EF4-FFF2-40B4-BE49-F238E27FC236}">
                <a16:creationId xmlns:a16="http://schemas.microsoft.com/office/drawing/2014/main" id="{F823521D-C548-DEA7-FA1E-8375A976BA1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0916" y="-84227"/>
            <a:ext cx="3751522" cy="2110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459139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DE38A3-C3D5-52CA-D857-01EC588AFC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E7863A-004F-EF52-0D97-5EB71554C21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DC9C5BF-FB41-C123-A38D-EE7881BF0B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32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307B4F1-D99B-246E-74DD-0CA855720AF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4075" y="615627"/>
            <a:ext cx="10090329" cy="5561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443206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F4A6BEB-DAD6-7302-3D42-EB1191FE35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group of colorful squares&#10;&#10;Description automatically generated">
            <a:extLst>
              <a:ext uri="{FF2B5EF4-FFF2-40B4-BE49-F238E27FC236}">
                <a16:creationId xmlns:a16="http://schemas.microsoft.com/office/drawing/2014/main" id="{9B77BC44-21DA-01DE-AFFF-ABF8A774A87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87" y="6156644"/>
            <a:ext cx="597947" cy="597947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764CB0D-A49F-D514-1238-AC67951F725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3200" dirty="0"/>
              <a:t>What is a trace?</a:t>
            </a:r>
          </a:p>
          <a:p>
            <a:r>
              <a:rPr lang="en-US" sz="3200" dirty="0"/>
              <a:t>Detailed log of events, system calls, SQL queries, and resource usage captured while a specific task is being executed</a:t>
            </a:r>
          </a:p>
          <a:p>
            <a:r>
              <a:rPr lang="en-US" sz="3200" dirty="0"/>
              <a:t>Help &gt; Trace</a:t>
            </a:r>
          </a:p>
          <a:p>
            <a:endParaRPr lang="en-GB" sz="3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32BB369-6D6E-49A2-431A-D8CED37F84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33</a:t>
            </a:fld>
            <a:endParaRPr lang="en-US" dirty="0"/>
          </a:p>
        </p:txBody>
      </p:sp>
      <p:sp>
        <p:nvSpPr>
          <p:cNvPr id="16" name="Rectángulo redondeado 14">
            <a:extLst>
              <a:ext uri="{FF2B5EF4-FFF2-40B4-BE49-F238E27FC236}">
                <a16:creationId xmlns:a16="http://schemas.microsoft.com/office/drawing/2014/main" id="{D0A1F34F-D09A-A6D5-121A-28920CA211A8}"/>
              </a:ext>
            </a:extLst>
          </p:cNvPr>
          <p:cNvSpPr/>
          <p:nvPr/>
        </p:nvSpPr>
        <p:spPr>
          <a:xfrm>
            <a:off x="207123" y="215979"/>
            <a:ext cx="9444878" cy="1214125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ángulo 12">
            <a:extLst>
              <a:ext uri="{FF2B5EF4-FFF2-40B4-BE49-F238E27FC236}">
                <a16:creationId xmlns:a16="http://schemas.microsoft.com/office/drawing/2014/main" id="{C10640ED-7F79-CACF-B8BB-B2052692AF9F}"/>
              </a:ext>
            </a:extLst>
          </p:cNvPr>
          <p:cNvSpPr/>
          <p:nvPr/>
        </p:nvSpPr>
        <p:spPr>
          <a:xfrm>
            <a:off x="676534" y="396696"/>
            <a:ext cx="7415414" cy="769441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Trace Parser</a:t>
            </a:r>
          </a:p>
        </p:txBody>
      </p:sp>
      <p:pic>
        <p:nvPicPr>
          <p:cNvPr id="2" name="Content Placeholder 11" descr="A logo with a black background">
            <a:extLst>
              <a:ext uri="{FF2B5EF4-FFF2-40B4-BE49-F238E27FC236}">
                <a16:creationId xmlns:a16="http://schemas.microsoft.com/office/drawing/2014/main" id="{D036C458-F1E5-CF18-5750-17088FC1CEB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0916" y="-84227"/>
            <a:ext cx="3751522" cy="2110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21734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CBAF11B-3903-F19C-6646-58036E9F6D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group of colorful squares&#10;&#10;Description automatically generated">
            <a:extLst>
              <a:ext uri="{FF2B5EF4-FFF2-40B4-BE49-F238E27FC236}">
                <a16:creationId xmlns:a16="http://schemas.microsoft.com/office/drawing/2014/main" id="{34972123-5127-2836-2639-CFE112D7773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87" y="6156644"/>
            <a:ext cx="597947" cy="597947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AC3F3F8-F577-D453-55CD-7391661192C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825625"/>
            <a:ext cx="6001657" cy="4351338"/>
          </a:xfrm>
        </p:spPr>
        <p:txBody>
          <a:bodyPr>
            <a:normAutofit/>
          </a:bodyPr>
          <a:lstStyle/>
          <a:p>
            <a:r>
              <a:rPr lang="en-US" sz="3200" dirty="0"/>
              <a:t>SQL Parameters</a:t>
            </a:r>
          </a:p>
          <a:p>
            <a:r>
              <a:rPr lang="en-US" sz="3200" dirty="0"/>
              <a:t>Gives more insight, “costs” a little more when on</a:t>
            </a:r>
          </a:p>
          <a:p>
            <a:r>
              <a:rPr lang="en-US" sz="3200" dirty="0"/>
              <a:t>Only admins can see previous traces</a:t>
            </a:r>
          </a:p>
          <a:p>
            <a:r>
              <a:rPr lang="en-US" sz="3200" dirty="0"/>
              <a:t>Users need “System Tracing user” to capture a trace</a:t>
            </a:r>
          </a:p>
          <a:p>
            <a:endParaRPr lang="en-GB" sz="3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454005D-053F-7721-603C-1BF069E7C7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34</a:t>
            </a:fld>
            <a:endParaRPr lang="en-US" dirty="0"/>
          </a:p>
        </p:txBody>
      </p:sp>
      <p:sp>
        <p:nvSpPr>
          <p:cNvPr id="16" name="Rectángulo redondeado 14">
            <a:extLst>
              <a:ext uri="{FF2B5EF4-FFF2-40B4-BE49-F238E27FC236}">
                <a16:creationId xmlns:a16="http://schemas.microsoft.com/office/drawing/2014/main" id="{2AFC00CC-9405-3418-0176-ACCE6621F71B}"/>
              </a:ext>
            </a:extLst>
          </p:cNvPr>
          <p:cNvSpPr/>
          <p:nvPr/>
        </p:nvSpPr>
        <p:spPr>
          <a:xfrm>
            <a:off x="207123" y="215979"/>
            <a:ext cx="9444878" cy="1214125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ángulo 12">
            <a:extLst>
              <a:ext uri="{FF2B5EF4-FFF2-40B4-BE49-F238E27FC236}">
                <a16:creationId xmlns:a16="http://schemas.microsoft.com/office/drawing/2014/main" id="{31A37FA4-40E6-6F15-80E6-6AB2CCE2CD86}"/>
              </a:ext>
            </a:extLst>
          </p:cNvPr>
          <p:cNvSpPr/>
          <p:nvPr/>
        </p:nvSpPr>
        <p:spPr>
          <a:xfrm>
            <a:off x="676534" y="396696"/>
            <a:ext cx="7415414" cy="769441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Trace Parser</a:t>
            </a:r>
          </a:p>
        </p:txBody>
      </p:sp>
      <p:pic>
        <p:nvPicPr>
          <p:cNvPr id="2" name="Content Placeholder 11" descr="A logo with a black background">
            <a:extLst>
              <a:ext uri="{FF2B5EF4-FFF2-40B4-BE49-F238E27FC236}">
                <a16:creationId xmlns:a16="http://schemas.microsoft.com/office/drawing/2014/main" id="{154C390F-D616-60D1-1130-61EF521A6FD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0916" y="-84227"/>
            <a:ext cx="3751522" cy="211023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9684538-59E4-2DAA-5673-B0EF4B6B86D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45322" y="2307142"/>
            <a:ext cx="2838095" cy="2571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583004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DA8340D-E479-0DD4-6F0A-B8A336C686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group of colorful squares&#10;&#10;Description automatically generated">
            <a:extLst>
              <a:ext uri="{FF2B5EF4-FFF2-40B4-BE49-F238E27FC236}">
                <a16:creationId xmlns:a16="http://schemas.microsoft.com/office/drawing/2014/main" id="{90DD966D-E6AC-E9BD-ADB5-B058ECE6695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87" y="6156644"/>
            <a:ext cx="597947" cy="597947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550990A-B676-E58C-6C98-E59691E4680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3200" dirty="0"/>
              <a:t>Found on VHD and VMs.</a:t>
            </a:r>
          </a:p>
          <a:p>
            <a:r>
              <a:rPr lang="en-US" sz="3200" dirty="0"/>
              <a:t>“Microsoft Dynamics 365 Unified Operations - Trace Parser” in start menu</a:t>
            </a:r>
          </a:p>
          <a:p>
            <a:r>
              <a:rPr lang="en-US" sz="3200" dirty="0"/>
              <a:t>In UDE assets</a:t>
            </a:r>
          </a:p>
          <a:p>
            <a:endParaRPr lang="en-US" sz="3200" dirty="0"/>
          </a:p>
          <a:p>
            <a:endParaRPr lang="en-GB" sz="3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0FEF43E-469D-6A9C-FB02-2983B4612E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35</a:t>
            </a:fld>
            <a:endParaRPr lang="en-US" dirty="0"/>
          </a:p>
        </p:txBody>
      </p:sp>
      <p:sp>
        <p:nvSpPr>
          <p:cNvPr id="16" name="Rectángulo redondeado 14">
            <a:extLst>
              <a:ext uri="{FF2B5EF4-FFF2-40B4-BE49-F238E27FC236}">
                <a16:creationId xmlns:a16="http://schemas.microsoft.com/office/drawing/2014/main" id="{BCDBEB8B-D5E4-F823-5A67-C8BF02B01F2D}"/>
              </a:ext>
            </a:extLst>
          </p:cNvPr>
          <p:cNvSpPr/>
          <p:nvPr/>
        </p:nvSpPr>
        <p:spPr>
          <a:xfrm>
            <a:off x="207123" y="215979"/>
            <a:ext cx="9444878" cy="1214125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ángulo 12">
            <a:extLst>
              <a:ext uri="{FF2B5EF4-FFF2-40B4-BE49-F238E27FC236}">
                <a16:creationId xmlns:a16="http://schemas.microsoft.com/office/drawing/2014/main" id="{6843D2D1-33CE-DCFF-01E1-A8BF4D543963}"/>
              </a:ext>
            </a:extLst>
          </p:cNvPr>
          <p:cNvSpPr/>
          <p:nvPr/>
        </p:nvSpPr>
        <p:spPr>
          <a:xfrm>
            <a:off x="676534" y="396696"/>
            <a:ext cx="7415414" cy="769441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Parsing A Trace</a:t>
            </a:r>
          </a:p>
        </p:txBody>
      </p:sp>
      <p:pic>
        <p:nvPicPr>
          <p:cNvPr id="2" name="Content Placeholder 11" descr="A logo with a black background">
            <a:extLst>
              <a:ext uri="{FF2B5EF4-FFF2-40B4-BE49-F238E27FC236}">
                <a16:creationId xmlns:a16="http://schemas.microsoft.com/office/drawing/2014/main" id="{AF0F78EB-5CBA-8781-8913-9F95D81D6F6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0916" y="-84227"/>
            <a:ext cx="3751522" cy="2110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7227870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4118F8-ADE0-81A3-1960-91E27F2E8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DC88183-0F5A-625D-133B-7DD66437F01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F5E3398-7451-42EA-F412-739B33CA2B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36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214BB9A-C1BF-8740-CE19-30C8D4CDE02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2" y="0"/>
            <a:ext cx="12434711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0349949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E6660F-75D5-B550-5D25-64B6FB2D7D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1910667-CE0D-0B0D-6F07-76B3A019DC5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A482D26-E835-9310-E701-0460B02747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37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7745613-0A74-AB7B-FBFA-EE9A559EC8F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2523" y="2440119"/>
            <a:ext cx="10971428" cy="2114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08411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444086-0E23-6068-8CD0-2CC4A77686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4C6AA3C-7113-EBDD-848C-8E89123D161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E95F556-BB92-D81B-61AE-85B39C757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38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FED2B43-C853-53F4-AFA3-8CA0A4D904D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2" y="0"/>
            <a:ext cx="12434711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9747189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19380B-8DA9-DB2E-9219-80F1C13ECC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0C31709-E9CA-1C59-C44D-2A30D47A689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F34469-90BC-C2AB-A4D6-2F8469E3B3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39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2715E76-2982-F6DA-81FC-77526BC9F17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4140" y="101601"/>
            <a:ext cx="10726310" cy="6502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823210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CA3DCF-9721-1BB8-C546-AAF581D6A1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group of colorful squares&#10;&#10;Description automatically generated">
            <a:extLst>
              <a:ext uri="{FF2B5EF4-FFF2-40B4-BE49-F238E27FC236}">
                <a16:creationId xmlns:a16="http://schemas.microsoft.com/office/drawing/2014/main" id="{84D49A9E-5FF7-7EB7-7D67-8F2E94647A3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87" y="6156644"/>
            <a:ext cx="597947" cy="597947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04FFD29-0FA9-9589-FECF-9D2FB8B5683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59E43E2-3949-A35F-DC6A-D382E3585C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16" name="Rectángulo redondeado 14">
            <a:extLst>
              <a:ext uri="{FF2B5EF4-FFF2-40B4-BE49-F238E27FC236}">
                <a16:creationId xmlns:a16="http://schemas.microsoft.com/office/drawing/2014/main" id="{0EE0C325-E321-579F-17D8-86D0F2CC3869}"/>
              </a:ext>
            </a:extLst>
          </p:cNvPr>
          <p:cNvSpPr/>
          <p:nvPr/>
        </p:nvSpPr>
        <p:spPr>
          <a:xfrm>
            <a:off x="207123" y="215979"/>
            <a:ext cx="9444878" cy="1214125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ángulo 12">
            <a:extLst>
              <a:ext uri="{FF2B5EF4-FFF2-40B4-BE49-F238E27FC236}">
                <a16:creationId xmlns:a16="http://schemas.microsoft.com/office/drawing/2014/main" id="{7415E391-4B71-0C2D-FE27-C2B2BE56AC95}"/>
              </a:ext>
            </a:extLst>
          </p:cNvPr>
          <p:cNvSpPr/>
          <p:nvPr/>
        </p:nvSpPr>
        <p:spPr>
          <a:xfrm>
            <a:off x="676534" y="396696"/>
            <a:ext cx="7415414" cy="769441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Speaker</a:t>
            </a:r>
          </a:p>
        </p:txBody>
      </p:sp>
      <p:pic>
        <p:nvPicPr>
          <p:cNvPr id="2" name="Content Placeholder 11" descr="A logo with a black background">
            <a:extLst>
              <a:ext uri="{FF2B5EF4-FFF2-40B4-BE49-F238E27FC236}">
                <a16:creationId xmlns:a16="http://schemas.microsoft.com/office/drawing/2014/main" id="{97216866-6AF1-EFCD-511A-BB816CC2ACA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0916" y="-84227"/>
            <a:ext cx="3751522" cy="2110231"/>
          </a:xfrm>
          <a:prstGeom prst="rect">
            <a:avLst/>
          </a:prstGeom>
        </p:spPr>
      </p:pic>
      <p:sp>
        <p:nvSpPr>
          <p:cNvPr id="5" name="Oval 4">
            <a:extLst>
              <a:ext uri="{FF2B5EF4-FFF2-40B4-BE49-F238E27FC236}">
                <a16:creationId xmlns:a16="http://schemas.microsoft.com/office/drawing/2014/main" id="{60138D95-7985-BAE3-49EC-63F2397AF232}"/>
              </a:ext>
            </a:extLst>
          </p:cNvPr>
          <p:cNvSpPr/>
          <p:nvPr/>
        </p:nvSpPr>
        <p:spPr bwMode="auto">
          <a:xfrm>
            <a:off x="4644231" y="2212224"/>
            <a:ext cx="1924050" cy="1958614"/>
          </a:xfrm>
          <a:prstGeom prst="ellipse">
            <a:avLst/>
          </a:prstGeom>
          <a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Poppins" pitchFamily="2" charset="77"/>
              <a:ea typeface="Segoe UI" pitchFamily="34" charset="0"/>
              <a:cs typeface="Poppins" pitchFamily="2" charset="77"/>
            </a:endParaRP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11EE7844-3C8F-A80F-6BA5-87DA4C1E7AD6}"/>
              </a:ext>
            </a:extLst>
          </p:cNvPr>
          <p:cNvSpPr txBox="1">
            <a:spLocks/>
          </p:cNvSpPr>
          <p:nvPr/>
        </p:nvSpPr>
        <p:spPr>
          <a:xfrm>
            <a:off x="3995737" y="4280298"/>
            <a:ext cx="3221037" cy="1208525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342900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3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None/>
            </a:pPr>
            <a:r>
              <a:rPr lang="en-US" sz="2400" dirty="0">
                <a:solidFill>
                  <a:schemeClr val="tx1"/>
                </a:solidFill>
                <a:latin typeface="segoe ui black"/>
                <a:ea typeface="segoe ui black"/>
                <a:cs typeface="Poppins"/>
              </a:rPr>
              <a:t>Nathan Clouse</a:t>
            </a:r>
          </a:p>
          <a:p>
            <a:pPr marL="0" indent="0" algn="ctr">
              <a:buNone/>
            </a:pPr>
            <a:r>
              <a:rPr lang="en-US" sz="1800" dirty="0">
                <a:latin typeface="segoe ui black"/>
                <a:ea typeface="segoe ui black"/>
                <a:cs typeface="Poppins"/>
              </a:rPr>
              <a:t>Technical Architect</a:t>
            </a:r>
          </a:p>
          <a:p>
            <a:pPr marL="0" indent="0" algn="ctr">
              <a:buNone/>
            </a:pPr>
            <a:r>
              <a:rPr lang="en-US" sz="1800" dirty="0">
                <a:latin typeface="segoe ui black"/>
                <a:ea typeface="segoe ui black"/>
                <a:cs typeface="Poppins"/>
              </a:rPr>
              <a:t>Microsoft MVP 5x</a:t>
            </a:r>
          </a:p>
          <a:p>
            <a:pPr marL="0" indent="0" algn="ctr">
              <a:buNone/>
            </a:pPr>
            <a:r>
              <a:rPr lang="en-US" sz="1800" dirty="0">
                <a:latin typeface="segoe ui black"/>
                <a:ea typeface="segoe ui black"/>
                <a:cs typeface="Poppins"/>
              </a:rPr>
              <a:t>Armanino</a:t>
            </a:r>
            <a:br>
              <a:rPr lang="en-US" sz="1800" dirty="0">
                <a:latin typeface="segoe ui black"/>
                <a:ea typeface="segoe ui black"/>
                <a:cs typeface="Poppins"/>
              </a:rPr>
            </a:br>
            <a:r>
              <a:rPr lang="en-US" sz="1800" dirty="0">
                <a:latin typeface="segoe ui black"/>
                <a:ea typeface="segoe ui black"/>
                <a:cs typeface="Poppins"/>
              </a:rPr>
              <a:t>AtomicAX.com</a:t>
            </a:r>
            <a:br>
              <a:rPr lang="en-US" sz="1800" dirty="0">
                <a:latin typeface="segoe ui black"/>
                <a:ea typeface="segoe ui black"/>
                <a:cs typeface="Poppins"/>
              </a:rPr>
            </a:br>
            <a:r>
              <a:rPr lang="en-US" sz="1800" dirty="0">
                <a:latin typeface="segoe ui black"/>
                <a:ea typeface="segoe ui black"/>
                <a:cs typeface="Poppins"/>
              </a:rPr>
              <a:t>Dynamics.fo</a:t>
            </a:r>
          </a:p>
        </p:txBody>
      </p:sp>
      <p:pic>
        <p:nvPicPr>
          <p:cNvPr id="7" name="Picture 6" descr="A person wearing glasses smiling&#10;&#10;Description automatically generated">
            <a:extLst>
              <a:ext uri="{FF2B5EF4-FFF2-40B4-BE49-F238E27FC236}">
                <a16:creationId xmlns:a16="http://schemas.microsoft.com/office/drawing/2014/main" id="{2FD263E3-AB20-37BB-3079-8ADC1527EE6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08336" y="2097925"/>
            <a:ext cx="2195837" cy="2195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044171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02057B-FC57-2765-B166-79BFA62795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A2D1713-7E8C-55BC-BD9B-25887660580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40CA2B6-A635-1497-0B77-446B7A3F03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40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87B56B8-B13F-6619-B028-DF5A4C65E6A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6824" y="1367827"/>
            <a:ext cx="11698351" cy="39344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8287230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133D78-5351-69F8-492B-3D923469F9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AD9EC7C-433D-2F53-96FF-5B25B10B0AC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649B565-74A6-7996-4899-CDF9967094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41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F11E824-B5C0-B2B2-0748-854524D3232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3700" y="903610"/>
            <a:ext cx="11404600" cy="4756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3335360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92DD8B1-9647-609D-BD51-BC51525D4A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group of colorful squares&#10;&#10;Description automatically generated">
            <a:extLst>
              <a:ext uri="{FF2B5EF4-FFF2-40B4-BE49-F238E27FC236}">
                <a16:creationId xmlns:a16="http://schemas.microsoft.com/office/drawing/2014/main" id="{529DF2EC-9828-F79B-7EB2-C5757B16CA6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87" y="6156644"/>
            <a:ext cx="597947" cy="597947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DF42E5F-F6FD-C114-7F60-DBAE4B60672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Can query against code (oversimplified)</a:t>
            </a:r>
          </a:p>
          <a:p>
            <a:r>
              <a:rPr lang="en-GB" dirty="0"/>
              <a:t>Can be used to identify nested loops or other performance related patterns</a:t>
            </a:r>
          </a:p>
          <a:p>
            <a:r>
              <a:rPr lang="en-GB" dirty="0"/>
              <a:t>XQuery can query your code like</a:t>
            </a:r>
          </a:p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2C89019-3A84-45E0-691E-7A8EEFE7D6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42</a:t>
            </a:fld>
            <a:endParaRPr lang="en-US" dirty="0"/>
          </a:p>
        </p:txBody>
      </p:sp>
      <p:sp>
        <p:nvSpPr>
          <p:cNvPr id="16" name="Rectángulo redondeado 14">
            <a:extLst>
              <a:ext uri="{FF2B5EF4-FFF2-40B4-BE49-F238E27FC236}">
                <a16:creationId xmlns:a16="http://schemas.microsoft.com/office/drawing/2014/main" id="{CECB648C-8BF4-A3B3-7087-5F2AB46CE258}"/>
              </a:ext>
            </a:extLst>
          </p:cNvPr>
          <p:cNvSpPr/>
          <p:nvPr/>
        </p:nvSpPr>
        <p:spPr>
          <a:xfrm>
            <a:off x="207123" y="215979"/>
            <a:ext cx="9444878" cy="1214125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ángulo 12">
            <a:extLst>
              <a:ext uri="{FF2B5EF4-FFF2-40B4-BE49-F238E27FC236}">
                <a16:creationId xmlns:a16="http://schemas.microsoft.com/office/drawing/2014/main" id="{BAB2306B-9301-7CEE-4684-3F1DA87371E1}"/>
              </a:ext>
            </a:extLst>
          </p:cNvPr>
          <p:cNvSpPr/>
          <p:nvPr/>
        </p:nvSpPr>
        <p:spPr>
          <a:xfrm>
            <a:off x="676534" y="396696"/>
            <a:ext cx="7415414" cy="769441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r>
              <a:rPr lang="en-US" sz="4400" b="1" dirty="0" err="1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Socratex</a:t>
            </a:r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 and XQuery</a:t>
            </a:r>
          </a:p>
        </p:txBody>
      </p:sp>
      <p:pic>
        <p:nvPicPr>
          <p:cNvPr id="2" name="Content Placeholder 11" descr="A logo with a black background">
            <a:extLst>
              <a:ext uri="{FF2B5EF4-FFF2-40B4-BE49-F238E27FC236}">
                <a16:creationId xmlns:a16="http://schemas.microsoft.com/office/drawing/2014/main" id="{ACD86318-66F2-116D-1B1D-340071550DD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0916" y="-84227"/>
            <a:ext cx="3751522" cy="2110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9213380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DF1E91-7D4F-0CEA-29D1-90D8D28DF3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group of colorful squares&#10;&#10;Description automatically generated">
            <a:extLst>
              <a:ext uri="{FF2B5EF4-FFF2-40B4-BE49-F238E27FC236}">
                <a16:creationId xmlns:a16="http://schemas.microsoft.com/office/drawing/2014/main" id="{D588DB6A-E3FE-9A55-8E26-E6D24629767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87" y="6156644"/>
            <a:ext cx="597947" cy="597947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77C2E59-A0B7-8467-7E71-1F08A15C1CF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GB" sz="3200" dirty="0"/>
              <a:t>Microsoft is released new versions of batch jobs</a:t>
            </a:r>
          </a:p>
          <a:p>
            <a:r>
              <a:rPr lang="en-GB" sz="3200" dirty="0"/>
              <a:t>If something is slow, a new feature may be available</a:t>
            </a:r>
          </a:p>
          <a:p>
            <a:endParaRPr lang="en-GB" sz="3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A6F37BA-631A-EF49-B0A5-B374089B68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43</a:t>
            </a:fld>
            <a:endParaRPr lang="en-US" dirty="0"/>
          </a:p>
        </p:txBody>
      </p:sp>
      <p:sp>
        <p:nvSpPr>
          <p:cNvPr id="16" name="Rectángulo redondeado 14">
            <a:extLst>
              <a:ext uri="{FF2B5EF4-FFF2-40B4-BE49-F238E27FC236}">
                <a16:creationId xmlns:a16="http://schemas.microsoft.com/office/drawing/2014/main" id="{C2FA557D-C7A3-D514-C014-E08CD1EFCB70}"/>
              </a:ext>
            </a:extLst>
          </p:cNvPr>
          <p:cNvSpPr/>
          <p:nvPr/>
        </p:nvSpPr>
        <p:spPr>
          <a:xfrm>
            <a:off x="207123" y="215979"/>
            <a:ext cx="9444878" cy="1214125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ángulo 12">
            <a:extLst>
              <a:ext uri="{FF2B5EF4-FFF2-40B4-BE49-F238E27FC236}">
                <a16:creationId xmlns:a16="http://schemas.microsoft.com/office/drawing/2014/main" id="{2213452E-CCA7-5424-ACA6-FC686151977B}"/>
              </a:ext>
            </a:extLst>
          </p:cNvPr>
          <p:cNvSpPr/>
          <p:nvPr/>
        </p:nvSpPr>
        <p:spPr>
          <a:xfrm>
            <a:off x="676534" y="396696"/>
            <a:ext cx="7415414" cy="769441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Batch Jobs</a:t>
            </a:r>
          </a:p>
        </p:txBody>
      </p:sp>
      <p:pic>
        <p:nvPicPr>
          <p:cNvPr id="2" name="Content Placeholder 11" descr="A logo with a black background">
            <a:extLst>
              <a:ext uri="{FF2B5EF4-FFF2-40B4-BE49-F238E27FC236}">
                <a16:creationId xmlns:a16="http://schemas.microsoft.com/office/drawing/2014/main" id="{33AF6E07-00BB-6616-46D5-7B74D212A3B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0916" y="-84227"/>
            <a:ext cx="3751522" cy="2110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7394224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D126BB-3CCF-CE19-4484-A77BA76449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FEBDD8-0AF8-5BDB-14CB-58177A73617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AC6F59C-1BE0-010D-6877-BB4CE8938D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44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5EA4260-4800-2A75-7457-88C08BAF7A6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0651" y="471488"/>
            <a:ext cx="11845974" cy="57642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4747747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171605-7DE7-7802-C136-F7007B8E515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group of colorful squares&#10;&#10;Description automatically generated">
            <a:extLst>
              <a:ext uri="{FF2B5EF4-FFF2-40B4-BE49-F238E27FC236}">
                <a16:creationId xmlns:a16="http://schemas.microsoft.com/office/drawing/2014/main" id="{E206C632-BB7B-E323-5C23-ACBB43B2D56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87" y="6156644"/>
            <a:ext cx="597947" cy="597947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C5F4444-24AB-CC8D-2FE5-7F9CF4FF1C0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3200" dirty="0"/>
              <a:t>“Classic” Batch Job</a:t>
            </a:r>
          </a:p>
          <a:p>
            <a:r>
              <a:rPr lang="en-US" sz="3200" dirty="0"/>
              <a:t>Individual Task Model</a:t>
            </a:r>
          </a:p>
          <a:p>
            <a:r>
              <a:rPr lang="en-US" sz="3200" dirty="0"/>
              <a:t>Batch-Bundle</a:t>
            </a:r>
          </a:p>
          <a:p>
            <a:r>
              <a:rPr lang="en-US" sz="3200" dirty="0"/>
              <a:t>Top-Picking</a:t>
            </a:r>
          </a:p>
          <a:p>
            <a:r>
              <a:rPr lang="en-US" sz="3200" dirty="0"/>
              <a:t>Each type has pros and cons</a:t>
            </a:r>
          </a:p>
          <a:p>
            <a:endParaRPr lang="en-GB" sz="3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459B089-EE73-439D-AFC7-CAB554D20B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45</a:t>
            </a:fld>
            <a:endParaRPr lang="en-US" dirty="0"/>
          </a:p>
        </p:txBody>
      </p:sp>
      <p:sp>
        <p:nvSpPr>
          <p:cNvPr id="16" name="Rectángulo redondeado 14">
            <a:extLst>
              <a:ext uri="{FF2B5EF4-FFF2-40B4-BE49-F238E27FC236}">
                <a16:creationId xmlns:a16="http://schemas.microsoft.com/office/drawing/2014/main" id="{C00C7737-8971-9757-F7F2-6D1AE1FEC551}"/>
              </a:ext>
            </a:extLst>
          </p:cNvPr>
          <p:cNvSpPr/>
          <p:nvPr/>
        </p:nvSpPr>
        <p:spPr>
          <a:xfrm>
            <a:off x="207123" y="215979"/>
            <a:ext cx="9444878" cy="1214125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ángulo 12">
            <a:extLst>
              <a:ext uri="{FF2B5EF4-FFF2-40B4-BE49-F238E27FC236}">
                <a16:creationId xmlns:a16="http://schemas.microsoft.com/office/drawing/2014/main" id="{26537809-CE76-0002-7149-9794FF336AEC}"/>
              </a:ext>
            </a:extLst>
          </p:cNvPr>
          <p:cNvSpPr/>
          <p:nvPr/>
        </p:nvSpPr>
        <p:spPr>
          <a:xfrm>
            <a:off x="676534" y="396696"/>
            <a:ext cx="7415414" cy="769441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Custom Batch Jobs</a:t>
            </a:r>
          </a:p>
        </p:txBody>
      </p:sp>
      <p:pic>
        <p:nvPicPr>
          <p:cNvPr id="2" name="Content Placeholder 11" descr="A logo with a black background">
            <a:extLst>
              <a:ext uri="{FF2B5EF4-FFF2-40B4-BE49-F238E27FC236}">
                <a16:creationId xmlns:a16="http://schemas.microsoft.com/office/drawing/2014/main" id="{B74EEB79-197B-8BA1-C2E6-833C8A2BBD0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0916" y="-84227"/>
            <a:ext cx="3751522" cy="2110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5255841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400DFD-DD57-867F-56A0-6EE41BF1E3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group of colorful squares&#10;&#10;Description automatically generated">
            <a:extLst>
              <a:ext uri="{FF2B5EF4-FFF2-40B4-BE49-F238E27FC236}">
                <a16:creationId xmlns:a16="http://schemas.microsoft.com/office/drawing/2014/main" id="{4143581C-D2DB-F888-FB27-CBD58C81098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87" y="6156644"/>
            <a:ext cx="597947" cy="59794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85598A0-56DD-CE62-165F-24E81C69D1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46</a:t>
            </a:fld>
            <a:endParaRPr lang="en-US" dirty="0"/>
          </a:p>
        </p:txBody>
      </p:sp>
      <p:sp>
        <p:nvSpPr>
          <p:cNvPr id="16" name="Rectángulo redondeado 14">
            <a:extLst>
              <a:ext uri="{FF2B5EF4-FFF2-40B4-BE49-F238E27FC236}">
                <a16:creationId xmlns:a16="http://schemas.microsoft.com/office/drawing/2014/main" id="{9F320893-C2E1-ADB1-6C47-C357A683D37F}"/>
              </a:ext>
            </a:extLst>
          </p:cNvPr>
          <p:cNvSpPr/>
          <p:nvPr/>
        </p:nvSpPr>
        <p:spPr>
          <a:xfrm>
            <a:off x="207123" y="215979"/>
            <a:ext cx="9444878" cy="1214125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ángulo 12">
            <a:extLst>
              <a:ext uri="{FF2B5EF4-FFF2-40B4-BE49-F238E27FC236}">
                <a16:creationId xmlns:a16="http://schemas.microsoft.com/office/drawing/2014/main" id="{5D9E69F2-EAA6-CC81-4A4B-73F50C922F9B}"/>
              </a:ext>
            </a:extLst>
          </p:cNvPr>
          <p:cNvSpPr/>
          <p:nvPr/>
        </p:nvSpPr>
        <p:spPr>
          <a:xfrm>
            <a:off x="676534" y="396696"/>
            <a:ext cx="7415414" cy="769441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Custom Batch Jobs</a:t>
            </a:r>
          </a:p>
        </p:txBody>
      </p:sp>
      <p:pic>
        <p:nvPicPr>
          <p:cNvPr id="2" name="Content Placeholder 11" descr="A logo with a black background">
            <a:extLst>
              <a:ext uri="{FF2B5EF4-FFF2-40B4-BE49-F238E27FC236}">
                <a16:creationId xmlns:a16="http://schemas.microsoft.com/office/drawing/2014/main" id="{924C5199-ED4A-BBC6-129D-1117AD9CB2A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0916" y="-84227"/>
            <a:ext cx="3751522" cy="2110231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E499F19B-8899-3341-E108-575969ED44B5}"/>
              </a:ext>
            </a:extLst>
          </p:cNvPr>
          <p:cNvSpPr txBox="1">
            <a:spLocks/>
          </p:cNvSpPr>
          <p:nvPr/>
        </p:nvSpPr>
        <p:spPr>
          <a:xfrm>
            <a:off x="564242" y="1825625"/>
            <a:ext cx="5038106" cy="419100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Classic batch job</a:t>
            </a:r>
          </a:p>
          <a:p>
            <a:pPr lvl="1"/>
            <a:r>
              <a:rPr lang="en-US" dirty="0"/>
              <a:t>Slow but cheap</a:t>
            </a:r>
          </a:p>
          <a:p>
            <a:pPr lvl="1"/>
            <a:r>
              <a:rPr lang="en-US" dirty="0"/>
              <a:t>Single Threaded</a:t>
            </a:r>
          </a:p>
          <a:p>
            <a:pPr lvl="1"/>
            <a:r>
              <a:rPr lang="en-US" dirty="0"/>
              <a:t>Tried-and-True method that works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8576F7A-E1BE-FB26-95A3-E5692A9E3758}"/>
              </a:ext>
            </a:extLst>
          </p:cNvPr>
          <p:cNvSpPr txBox="1">
            <a:spLocks/>
          </p:cNvSpPr>
          <p:nvPr/>
        </p:nvSpPr>
        <p:spPr>
          <a:xfrm>
            <a:off x="6059547" y="1825625"/>
            <a:ext cx="5486400" cy="4191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4145869F-DECC-690F-CA9F-1889959849D0}"/>
              </a:ext>
            </a:extLst>
          </p:cNvPr>
          <p:cNvSpPr txBox="1">
            <a:spLocks/>
          </p:cNvSpPr>
          <p:nvPr/>
        </p:nvSpPr>
        <p:spPr>
          <a:xfrm>
            <a:off x="5874664" y="1857729"/>
            <a:ext cx="5038106" cy="419100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Individual Task Model</a:t>
            </a:r>
          </a:p>
          <a:p>
            <a:pPr lvl="1"/>
            <a:r>
              <a:rPr lang="en-US" dirty="0"/>
              <a:t>Fast but expensive</a:t>
            </a:r>
          </a:p>
          <a:p>
            <a:pPr lvl="1"/>
            <a:r>
              <a:rPr lang="en-US" dirty="0"/>
              <a:t>“all threaded”</a:t>
            </a:r>
          </a:p>
          <a:p>
            <a:pPr lvl="1"/>
            <a:r>
              <a:rPr lang="en-US" dirty="0"/>
              <a:t>Schedule everything and let batch sort it out</a:t>
            </a:r>
          </a:p>
        </p:txBody>
      </p:sp>
    </p:spTree>
    <p:extLst>
      <p:ext uri="{BB962C8B-B14F-4D97-AF65-F5344CB8AC3E}">
        <p14:creationId xmlns:p14="http://schemas.microsoft.com/office/powerpoint/2010/main" val="1932056322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97005D-BB17-BE6C-007D-D713A76D64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group of colorful squares&#10;&#10;Description automatically generated">
            <a:extLst>
              <a:ext uri="{FF2B5EF4-FFF2-40B4-BE49-F238E27FC236}">
                <a16:creationId xmlns:a16="http://schemas.microsoft.com/office/drawing/2014/main" id="{08FCE1C5-E111-860F-0F0B-58C28BC9801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87" y="6156644"/>
            <a:ext cx="597947" cy="59794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45D68CD-31D4-EF9A-241F-0E7C68F536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47</a:t>
            </a:fld>
            <a:endParaRPr lang="en-US" dirty="0"/>
          </a:p>
        </p:txBody>
      </p:sp>
      <p:sp>
        <p:nvSpPr>
          <p:cNvPr id="16" name="Rectángulo redondeado 14">
            <a:extLst>
              <a:ext uri="{FF2B5EF4-FFF2-40B4-BE49-F238E27FC236}">
                <a16:creationId xmlns:a16="http://schemas.microsoft.com/office/drawing/2014/main" id="{3EA85C66-026D-A470-9F16-4E7BB29BD028}"/>
              </a:ext>
            </a:extLst>
          </p:cNvPr>
          <p:cNvSpPr/>
          <p:nvPr/>
        </p:nvSpPr>
        <p:spPr>
          <a:xfrm>
            <a:off x="207123" y="215979"/>
            <a:ext cx="9444878" cy="1214125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ángulo 12">
            <a:extLst>
              <a:ext uri="{FF2B5EF4-FFF2-40B4-BE49-F238E27FC236}">
                <a16:creationId xmlns:a16="http://schemas.microsoft.com/office/drawing/2014/main" id="{F600C8E8-569D-F5C6-F412-8549C536DD52}"/>
              </a:ext>
            </a:extLst>
          </p:cNvPr>
          <p:cNvSpPr/>
          <p:nvPr/>
        </p:nvSpPr>
        <p:spPr>
          <a:xfrm>
            <a:off x="676534" y="396696"/>
            <a:ext cx="7415414" cy="769441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Custom Batch Jobs</a:t>
            </a:r>
          </a:p>
        </p:txBody>
      </p:sp>
      <p:pic>
        <p:nvPicPr>
          <p:cNvPr id="2" name="Content Placeholder 11" descr="A logo with a black background">
            <a:extLst>
              <a:ext uri="{FF2B5EF4-FFF2-40B4-BE49-F238E27FC236}">
                <a16:creationId xmlns:a16="http://schemas.microsoft.com/office/drawing/2014/main" id="{B5B8D4A2-CF46-40BD-B1AD-00E468A718E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0916" y="-84227"/>
            <a:ext cx="3751522" cy="2110231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9C2AF3B5-1A06-53A9-072A-E90CA251F82F}"/>
              </a:ext>
            </a:extLst>
          </p:cNvPr>
          <p:cNvSpPr txBox="1">
            <a:spLocks/>
          </p:cNvSpPr>
          <p:nvPr/>
        </p:nvSpPr>
        <p:spPr>
          <a:xfrm>
            <a:off x="564242" y="1825625"/>
            <a:ext cx="5038106" cy="419100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Batch-Bundle</a:t>
            </a:r>
          </a:p>
          <a:p>
            <a:pPr lvl="1"/>
            <a:r>
              <a:rPr lang="en-US" dirty="0"/>
              <a:t>Moderate to Fast with some cost</a:t>
            </a:r>
          </a:p>
          <a:p>
            <a:pPr lvl="1"/>
            <a:r>
              <a:rPr lang="en-US" dirty="0"/>
              <a:t>Groups of tasks</a:t>
            </a:r>
          </a:p>
          <a:p>
            <a:pPr lvl="1"/>
            <a:r>
              <a:rPr lang="en-US" dirty="0"/>
              <a:t>Groups get completed 1 group at a time with multiple groups running at a time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4692F6A9-0F1C-C652-F47E-F175F91F5794}"/>
              </a:ext>
            </a:extLst>
          </p:cNvPr>
          <p:cNvSpPr txBox="1">
            <a:spLocks/>
          </p:cNvSpPr>
          <p:nvPr/>
        </p:nvSpPr>
        <p:spPr>
          <a:xfrm>
            <a:off x="6059547" y="1825625"/>
            <a:ext cx="5486400" cy="4191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89088114-A6B3-C9A7-D152-4AA4923B49A5}"/>
              </a:ext>
            </a:extLst>
          </p:cNvPr>
          <p:cNvSpPr txBox="1">
            <a:spLocks/>
          </p:cNvSpPr>
          <p:nvPr/>
        </p:nvSpPr>
        <p:spPr>
          <a:xfrm>
            <a:off x="5874664" y="1857729"/>
            <a:ext cx="5038106" cy="419100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Top-Picking</a:t>
            </a:r>
          </a:p>
          <a:p>
            <a:pPr lvl="1"/>
            <a:r>
              <a:rPr lang="en-US" dirty="0"/>
              <a:t>Fast with some temporal cost</a:t>
            </a:r>
          </a:p>
          <a:p>
            <a:pPr lvl="1"/>
            <a:r>
              <a:rPr lang="en-US" dirty="0"/>
              <a:t>“x threaded”</a:t>
            </a:r>
          </a:p>
          <a:p>
            <a:pPr lvl="1"/>
            <a:r>
              <a:rPr lang="en-US" dirty="0"/>
              <a:t>Setup x number of threads / lanes to execute all the work</a:t>
            </a:r>
          </a:p>
        </p:txBody>
      </p:sp>
    </p:spTree>
    <p:extLst>
      <p:ext uri="{BB962C8B-B14F-4D97-AF65-F5344CB8AC3E}">
        <p14:creationId xmlns:p14="http://schemas.microsoft.com/office/powerpoint/2010/main" val="3539391265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9C0D66-974D-417E-C418-FF4DCF8E8F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group of colorful squares&#10;&#10;Description automatically generated">
            <a:extLst>
              <a:ext uri="{FF2B5EF4-FFF2-40B4-BE49-F238E27FC236}">
                <a16:creationId xmlns:a16="http://schemas.microsoft.com/office/drawing/2014/main" id="{5D9D5797-5BF4-3BAE-0923-B70CE17E3B3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87" y="6156644"/>
            <a:ext cx="597947" cy="597947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AD81B70-F803-FE5F-5599-A448EA27992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urn on telemetry</a:t>
            </a:r>
          </a:p>
          <a:p>
            <a:pPr lvl="1"/>
            <a:r>
              <a:rPr lang="en-US" dirty="0"/>
              <a:t>Custom Metrics</a:t>
            </a:r>
          </a:p>
          <a:p>
            <a:pPr lvl="1"/>
            <a:r>
              <a:rPr lang="en-US" dirty="0"/>
              <a:t>Form runs ( Page Views)</a:t>
            </a:r>
          </a:p>
          <a:p>
            <a:pPr lvl="1"/>
            <a:r>
              <a:rPr lang="en-US" dirty="0"/>
              <a:t>User Sessions</a:t>
            </a:r>
          </a:p>
          <a:p>
            <a:pPr lvl="1"/>
            <a:r>
              <a:rPr lang="en-US" dirty="0"/>
              <a:t>X++ exceptions</a:t>
            </a:r>
          </a:p>
          <a:p>
            <a:pPr lvl="1"/>
            <a:r>
              <a:rPr lang="en-US" dirty="0"/>
              <a:t>Custom Traces</a:t>
            </a:r>
          </a:p>
          <a:p>
            <a:pPr lvl="1"/>
            <a:r>
              <a:rPr lang="en-US" dirty="0"/>
              <a:t>DMF Errors</a:t>
            </a:r>
          </a:p>
          <a:p>
            <a:pPr lvl="1"/>
            <a:r>
              <a:rPr lang="en-US" dirty="0"/>
              <a:t>Warehouse events</a:t>
            </a:r>
          </a:p>
          <a:p>
            <a:r>
              <a:rPr lang="en-GB" dirty="0"/>
              <a:t>Add your ow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FC4ADBE-9ABD-246D-42CF-CF5B3B03E9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48</a:t>
            </a:fld>
            <a:endParaRPr lang="en-US" dirty="0"/>
          </a:p>
        </p:txBody>
      </p:sp>
      <p:sp>
        <p:nvSpPr>
          <p:cNvPr id="16" name="Rectángulo redondeado 14">
            <a:extLst>
              <a:ext uri="{FF2B5EF4-FFF2-40B4-BE49-F238E27FC236}">
                <a16:creationId xmlns:a16="http://schemas.microsoft.com/office/drawing/2014/main" id="{3251E9A6-A92E-F943-FBB1-04234CB1A015}"/>
              </a:ext>
            </a:extLst>
          </p:cNvPr>
          <p:cNvSpPr/>
          <p:nvPr/>
        </p:nvSpPr>
        <p:spPr>
          <a:xfrm>
            <a:off x="207123" y="215979"/>
            <a:ext cx="9444878" cy="1214125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ángulo 12">
            <a:extLst>
              <a:ext uri="{FF2B5EF4-FFF2-40B4-BE49-F238E27FC236}">
                <a16:creationId xmlns:a16="http://schemas.microsoft.com/office/drawing/2014/main" id="{A38CF022-3A62-FA66-C492-EE1B840137CF}"/>
              </a:ext>
            </a:extLst>
          </p:cNvPr>
          <p:cNvSpPr/>
          <p:nvPr/>
        </p:nvSpPr>
        <p:spPr>
          <a:xfrm>
            <a:off x="676534" y="396696"/>
            <a:ext cx="7415414" cy="769441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Telemetry</a:t>
            </a:r>
          </a:p>
        </p:txBody>
      </p:sp>
      <p:pic>
        <p:nvPicPr>
          <p:cNvPr id="2" name="Content Placeholder 11" descr="A logo with a black background">
            <a:extLst>
              <a:ext uri="{FF2B5EF4-FFF2-40B4-BE49-F238E27FC236}">
                <a16:creationId xmlns:a16="http://schemas.microsoft.com/office/drawing/2014/main" id="{AFAC63FD-7016-9A08-749F-14DB0CDAD7B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0916" y="-84227"/>
            <a:ext cx="3751522" cy="211023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B9CD5D9-1416-969C-CA80-C2678771DB0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09925" y="1825625"/>
            <a:ext cx="7598694" cy="4188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5483765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563212-8DB7-48ED-2585-D75E1FEA05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FC43857-1C91-B31E-988A-BE30213B25D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7B441FE-2306-41CF-3B2F-B2108CA3B0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49</a:t>
            </a:fld>
            <a:endParaRPr lang="en-US" dirty="0"/>
          </a:p>
        </p:txBody>
      </p:sp>
      <p:pic>
        <p:nvPicPr>
          <p:cNvPr id="5" name="Picture 2" descr="Placeholder">
            <a:extLst>
              <a:ext uri="{FF2B5EF4-FFF2-40B4-BE49-F238E27FC236}">
                <a16:creationId xmlns:a16="http://schemas.microsoft.com/office/drawing/2014/main" id="{94241DC1-8584-166D-6BE7-E1A15BABD0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301" y="488950"/>
            <a:ext cx="11757228" cy="56880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4808957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4D72A03-11B9-4E6C-BCD0-ABF1CEA11D2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78606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4D72A03-11B9-4E6C-BCD0-ABF1CEA11D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ctangle 30" hidden="1">
            <a:extLst>
              <a:ext uri="{FF2B5EF4-FFF2-40B4-BE49-F238E27FC236}">
                <a16:creationId xmlns:a16="http://schemas.microsoft.com/office/drawing/2014/main" id="{B2389E89-8E98-4579-91A3-E987C1C7A79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41" name="Freeform 46">
            <a:extLst>
              <a:ext uri="{FF2B5EF4-FFF2-40B4-BE49-F238E27FC236}">
                <a16:creationId xmlns:a16="http://schemas.microsoft.com/office/drawing/2014/main" id="{4D9DC0AD-5633-4D49-BD94-C66F7DCB7AD6}"/>
              </a:ext>
            </a:extLst>
          </p:cNvPr>
          <p:cNvSpPr/>
          <p:nvPr/>
        </p:nvSpPr>
        <p:spPr>
          <a:xfrm>
            <a:off x="6107351" y="2527808"/>
            <a:ext cx="1746915" cy="3293415"/>
          </a:xfrm>
          <a:prstGeom prst="roundRect">
            <a:avLst>
              <a:gd name="adj" fmla="val 7034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2" name="Freeform 46">
            <a:extLst>
              <a:ext uri="{FF2B5EF4-FFF2-40B4-BE49-F238E27FC236}">
                <a16:creationId xmlns:a16="http://schemas.microsoft.com/office/drawing/2014/main" id="{8ED71039-7081-468E-AB92-9D260FF8A12E}"/>
              </a:ext>
            </a:extLst>
          </p:cNvPr>
          <p:cNvSpPr/>
          <p:nvPr/>
        </p:nvSpPr>
        <p:spPr>
          <a:xfrm>
            <a:off x="7993128" y="2527808"/>
            <a:ext cx="1746915" cy="3293415"/>
          </a:xfrm>
          <a:prstGeom prst="roundRect">
            <a:avLst>
              <a:gd name="adj" fmla="val 7034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3" name="Freeform 46">
            <a:extLst>
              <a:ext uri="{FF2B5EF4-FFF2-40B4-BE49-F238E27FC236}">
                <a16:creationId xmlns:a16="http://schemas.microsoft.com/office/drawing/2014/main" id="{EEA6B409-1179-47CA-903C-EDA2E45A466C}"/>
              </a:ext>
            </a:extLst>
          </p:cNvPr>
          <p:cNvSpPr/>
          <p:nvPr/>
        </p:nvSpPr>
        <p:spPr>
          <a:xfrm>
            <a:off x="9878905" y="2556263"/>
            <a:ext cx="1746915" cy="3293415"/>
          </a:xfrm>
          <a:prstGeom prst="roundRect">
            <a:avLst>
              <a:gd name="adj" fmla="val 7034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2" name="Rectángulo 6175">
            <a:extLst>
              <a:ext uri="{FF2B5EF4-FFF2-40B4-BE49-F238E27FC236}">
                <a16:creationId xmlns:a16="http://schemas.microsoft.com/office/drawing/2014/main" id="{2A64D682-0050-4389-A90C-EFAC74AECC49}"/>
              </a:ext>
            </a:extLst>
          </p:cNvPr>
          <p:cNvSpPr/>
          <p:nvPr/>
        </p:nvSpPr>
        <p:spPr>
          <a:xfrm>
            <a:off x="0" y="-36682"/>
            <a:ext cx="12214702" cy="2683845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任意多边形: 形状 16">
            <a:extLst>
              <a:ext uri="{FF2B5EF4-FFF2-40B4-BE49-F238E27FC236}">
                <a16:creationId xmlns:a16="http://schemas.microsoft.com/office/drawing/2014/main" id="{B41D6309-0230-480F-8705-C0BE4833FB4E}"/>
              </a:ext>
            </a:extLst>
          </p:cNvPr>
          <p:cNvSpPr/>
          <p:nvPr/>
        </p:nvSpPr>
        <p:spPr>
          <a:xfrm rot="10800000">
            <a:off x="2730500" y="262039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3" name="任意多边形: 形状 16">
            <a:extLst>
              <a:ext uri="{FF2B5EF4-FFF2-40B4-BE49-F238E27FC236}">
                <a16:creationId xmlns:a16="http://schemas.microsoft.com/office/drawing/2014/main" id="{66AD9C33-101F-4AD0-9008-15A7C8976DD8}"/>
              </a:ext>
            </a:extLst>
          </p:cNvPr>
          <p:cNvSpPr/>
          <p:nvPr/>
        </p:nvSpPr>
        <p:spPr>
          <a:xfrm rot="10800000">
            <a:off x="0" y="262039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4" name="任意多边形: 形状 16">
            <a:extLst>
              <a:ext uri="{FF2B5EF4-FFF2-40B4-BE49-F238E27FC236}">
                <a16:creationId xmlns:a16="http://schemas.microsoft.com/office/drawing/2014/main" id="{11D50B8D-711A-451B-9DA6-E859A753420B}"/>
              </a:ext>
            </a:extLst>
          </p:cNvPr>
          <p:cNvSpPr/>
          <p:nvPr/>
        </p:nvSpPr>
        <p:spPr>
          <a:xfrm rot="10800000">
            <a:off x="2746677" y="-27807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5" name="任意多边形: 形状 16">
            <a:extLst>
              <a:ext uri="{FF2B5EF4-FFF2-40B4-BE49-F238E27FC236}">
                <a16:creationId xmlns:a16="http://schemas.microsoft.com/office/drawing/2014/main" id="{DE495D2F-7C07-4866-B830-0C0EAB5809D4}"/>
              </a:ext>
            </a:extLst>
          </p:cNvPr>
          <p:cNvSpPr/>
          <p:nvPr/>
        </p:nvSpPr>
        <p:spPr>
          <a:xfrm rot="10800000">
            <a:off x="16177" y="-27807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6" name="任意多边形: 形状 16">
            <a:extLst>
              <a:ext uri="{FF2B5EF4-FFF2-40B4-BE49-F238E27FC236}">
                <a16:creationId xmlns:a16="http://schemas.microsoft.com/office/drawing/2014/main" id="{532E5B3A-1DDF-4B30-B942-35F41308A3DF}"/>
              </a:ext>
            </a:extLst>
          </p:cNvPr>
          <p:cNvSpPr/>
          <p:nvPr/>
        </p:nvSpPr>
        <p:spPr>
          <a:xfrm rot="10800000">
            <a:off x="5477177" y="-27807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7" name="任意多边形: 形状 16">
            <a:extLst>
              <a:ext uri="{FF2B5EF4-FFF2-40B4-BE49-F238E27FC236}">
                <a16:creationId xmlns:a16="http://schemas.microsoft.com/office/drawing/2014/main" id="{66CD9716-F730-41A4-B083-C6BBE3A64580}"/>
              </a:ext>
            </a:extLst>
          </p:cNvPr>
          <p:cNvSpPr/>
          <p:nvPr/>
        </p:nvSpPr>
        <p:spPr>
          <a:xfrm rot="10800000">
            <a:off x="8220377" y="-27807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8" name="Freeform: Shape 107">
            <a:extLst>
              <a:ext uri="{FF2B5EF4-FFF2-40B4-BE49-F238E27FC236}">
                <a16:creationId xmlns:a16="http://schemas.microsoft.com/office/drawing/2014/main" id="{36B71F34-F6E5-49FC-958C-CC95E450CBA2}"/>
              </a:ext>
            </a:extLst>
          </p:cNvPr>
          <p:cNvSpPr/>
          <p:nvPr/>
        </p:nvSpPr>
        <p:spPr>
          <a:xfrm rot="10800000">
            <a:off x="10963577" y="-27807"/>
            <a:ext cx="1267302" cy="464457"/>
          </a:xfrm>
          <a:custGeom>
            <a:avLst/>
            <a:gdLst>
              <a:gd name="connsiteX0" fmla="*/ 1267302 w 1267302"/>
              <a:gd name="connsiteY0" fmla="*/ 464457 h 464457"/>
              <a:gd name="connsiteX1" fmla="*/ 0 w 1267302"/>
              <a:gd name="connsiteY1" fmla="*/ 464457 h 464457"/>
              <a:gd name="connsiteX2" fmla="*/ 0 w 1267302"/>
              <a:gd name="connsiteY2" fmla="*/ 0 h 464457"/>
              <a:gd name="connsiteX3" fmla="*/ 255423 w 1267302"/>
              <a:gd name="connsiteY3" fmla="*/ 0 h 464457"/>
              <a:gd name="connsiteX4" fmla="*/ 255423 w 1267302"/>
              <a:gd name="connsiteY4" fmla="*/ 111250 h 464457"/>
              <a:gd name="connsiteX5" fmla="*/ 451057 w 1267302"/>
              <a:gd name="connsiteY5" fmla="*/ 111250 h 464457"/>
              <a:gd name="connsiteX6" fmla="*/ 451057 w 1267302"/>
              <a:gd name="connsiteY6" fmla="*/ 0 h 464457"/>
              <a:gd name="connsiteX7" fmla="*/ 712838 w 1267302"/>
              <a:gd name="connsiteY7" fmla="*/ 0 h 464457"/>
              <a:gd name="connsiteX8" fmla="*/ 712838 w 1267302"/>
              <a:gd name="connsiteY8" fmla="*/ 111250 h 464457"/>
              <a:gd name="connsiteX9" fmla="*/ 908472 w 1267302"/>
              <a:gd name="connsiteY9" fmla="*/ 111250 h 464457"/>
              <a:gd name="connsiteX10" fmla="*/ 908472 w 1267302"/>
              <a:gd name="connsiteY10" fmla="*/ 0 h 464457"/>
              <a:gd name="connsiteX11" fmla="*/ 1170255 w 1267302"/>
              <a:gd name="connsiteY11" fmla="*/ 0 h 464457"/>
              <a:gd name="connsiteX12" fmla="*/ 1170255 w 1267302"/>
              <a:gd name="connsiteY12" fmla="*/ 111250 h 464457"/>
              <a:gd name="connsiteX13" fmla="*/ 1267302 w 1267302"/>
              <a:gd name="connsiteY13" fmla="*/ 111250 h 4644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67302" h="464457">
                <a:moveTo>
                  <a:pt x="1267302" y="464457"/>
                </a:moveTo>
                <a:lnTo>
                  <a:pt x="0" y="464457"/>
                </a:lnTo>
                <a:lnTo>
                  <a:pt x="0" y="0"/>
                </a:lnTo>
                <a:lnTo>
                  <a:pt x="255423" y="0"/>
                </a:lnTo>
                <a:lnTo>
                  <a:pt x="255423" y="111250"/>
                </a:lnTo>
                <a:lnTo>
                  <a:pt x="451057" y="111250"/>
                </a:lnTo>
                <a:lnTo>
                  <a:pt x="451057" y="0"/>
                </a:lnTo>
                <a:lnTo>
                  <a:pt x="712838" y="0"/>
                </a:lnTo>
                <a:lnTo>
                  <a:pt x="712838" y="111250"/>
                </a:lnTo>
                <a:lnTo>
                  <a:pt x="908472" y="111250"/>
                </a:lnTo>
                <a:lnTo>
                  <a:pt x="908472" y="0"/>
                </a:lnTo>
                <a:lnTo>
                  <a:pt x="1170255" y="0"/>
                </a:lnTo>
                <a:lnTo>
                  <a:pt x="1170255" y="111250"/>
                </a:lnTo>
                <a:lnTo>
                  <a:pt x="1267302" y="111250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24" name="任意多边形: 形状 16">
            <a:extLst>
              <a:ext uri="{FF2B5EF4-FFF2-40B4-BE49-F238E27FC236}">
                <a16:creationId xmlns:a16="http://schemas.microsoft.com/office/drawing/2014/main" id="{387479D5-7E0D-498F-807F-D29675002DDC}"/>
              </a:ext>
            </a:extLst>
          </p:cNvPr>
          <p:cNvSpPr/>
          <p:nvPr/>
        </p:nvSpPr>
        <p:spPr>
          <a:xfrm rot="10800000">
            <a:off x="5461000" y="262039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5" name="任意多边形: 形状 16">
            <a:extLst>
              <a:ext uri="{FF2B5EF4-FFF2-40B4-BE49-F238E27FC236}">
                <a16:creationId xmlns:a16="http://schemas.microsoft.com/office/drawing/2014/main" id="{8C64FE4C-BD51-4E69-B027-70D75C63AF5C}"/>
              </a:ext>
            </a:extLst>
          </p:cNvPr>
          <p:cNvSpPr/>
          <p:nvPr/>
        </p:nvSpPr>
        <p:spPr>
          <a:xfrm rot="10800000">
            <a:off x="8204200" y="262039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EBD515D6-1ADB-4D8D-B3AC-1B0531764E09}"/>
              </a:ext>
            </a:extLst>
          </p:cNvPr>
          <p:cNvSpPr/>
          <p:nvPr/>
        </p:nvSpPr>
        <p:spPr>
          <a:xfrm rot="10800000">
            <a:off x="10947400" y="2620391"/>
            <a:ext cx="1267302" cy="464457"/>
          </a:xfrm>
          <a:custGeom>
            <a:avLst/>
            <a:gdLst>
              <a:gd name="connsiteX0" fmla="*/ 1267302 w 1267302"/>
              <a:gd name="connsiteY0" fmla="*/ 464457 h 464457"/>
              <a:gd name="connsiteX1" fmla="*/ 0 w 1267302"/>
              <a:gd name="connsiteY1" fmla="*/ 464457 h 464457"/>
              <a:gd name="connsiteX2" fmla="*/ 0 w 1267302"/>
              <a:gd name="connsiteY2" fmla="*/ 0 h 464457"/>
              <a:gd name="connsiteX3" fmla="*/ 255423 w 1267302"/>
              <a:gd name="connsiteY3" fmla="*/ 0 h 464457"/>
              <a:gd name="connsiteX4" fmla="*/ 255423 w 1267302"/>
              <a:gd name="connsiteY4" fmla="*/ 111250 h 464457"/>
              <a:gd name="connsiteX5" fmla="*/ 451057 w 1267302"/>
              <a:gd name="connsiteY5" fmla="*/ 111250 h 464457"/>
              <a:gd name="connsiteX6" fmla="*/ 451057 w 1267302"/>
              <a:gd name="connsiteY6" fmla="*/ 0 h 464457"/>
              <a:gd name="connsiteX7" fmla="*/ 712838 w 1267302"/>
              <a:gd name="connsiteY7" fmla="*/ 0 h 464457"/>
              <a:gd name="connsiteX8" fmla="*/ 712838 w 1267302"/>
              <a:gd name="connsiteY8" fmla="*/ 111250 h 464457"/>
              <a:gd name="connsiteX9" fmla="*/ 908472 w 1267302"/>
              <a:gd name="connsiteY9" fmla="*/ 111250 h 464457"/>
              <a:gd name="connsiteX10" fmla="*/ 908472 w 1267302"/>
              <a:gd name="connsiteY10" fmla="*/ 0 h 464457"/>
              <a:gd name="connsiteX11" fmla="*/ 1170255 w 1267302"/>
              <a:gd name="connsiteY11" fmla="*/ 0 h 464457"/>
              <a:gd name="connsiteX12" fmla="*/ 1170255 w 1267302"/>
              <a:gd name="connsiteY12" fmla="*/ 111250 h 464457"/>
              <a:gd name="connsiteX13" fmla="*/ 1267302 w 1267302"/>
              <a:gd name="connsiteY13" fmla="*/ 111250 h 4644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67302" h="464457">
                <a:moveTo>
                  <a:pt x="1267302" y="464457"/>
                </a:moveTo>
                <a:lnTo>
                  <a:pt x="0" y="464457"/>
                </a:lnTo>
                <a:lnTo>
                  <a:pt x="0" y="0"/>
                </a:lnTo>
                <a:lnTo>
                  <a:pt x="255423" y="0"/>
                </a:lnTo>
                <a:lnTo>
                  <a:pt x="255423" y="111250"/>
                </a:lnTo>
                <a:lnTo>
                  <a:pt x="451057" y="111250"/>
                </a:lnTo>
                <a:lnTo>
                  <a:pt x="451057" y="0"/>
                </a:lnTo>
                <a:lnTo>
                  <a:pt x="712838" y="0"/>
                </a:lnTo>
                <a:lnTo>
                  <a:pt x="712838" y="111250"/>
                </a:lnTo>
                <a:lnTo>
                  <a:pt x="908472" y="111250"/>
                </a:lnTo>
                <a:lnTo>
                  <a:pt x="908472" y="0"/>
                </a:lnTo>
                <a:lnTo>
                  <a:pt x="1170255" y="0"/>
                </a:lnTo>
                <a:lnTo>
                  <a:pt x="1170255" y="111250"/>
                </a:lnTo>
                <a:lnTo>
                  <a:pt x="1267302" y="111250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C0B84BBC-F177-4629-A741-B627A06E500D}"/>
              </a:ext>
            </a:extLst>
          </p:cNvPr>
          <p:cNvSpPr/>
          <p:nvPr/>
        </p:nvSpPr>
        <p:spPr>
          <a:xfrm>
            <a:off x="566057" y="983343"/>
            <a:ext cx="4891314" cy="4891314"/>
          </a:xfrm>
          <a:prstGeom prst="ellipse">
            <a:avLst/>
          </a:pr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 descr="Background pattern&#10;&#10;Description automatically generated">
            <a:extLst>
              <a:ext uri="{FF2B5EF4-FFF2-40B4-BE49-F238E27FC236}">
                <a16:creationId xmlns:a16="http://schemas.microsoft.com/office/drawing/2014/main" id="{190FA3A6-A08C-4DCE-8A05-1B994166BB02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88390" y="1205676"/>
            <a:ext cx="4446650" cy="4446650"/>
          </a:xfrm>
          <a:custGeom>
            <a:avLst/>
            <a:gdLst>
              <a:gd name="connsiteX0" fmla="*/ 2223325 w 4446650"/>
              <a:gd name="connsiteY0" fmla="*/ 0 h 4446650"/>
              <a:gd name="connsiteX1" fmla="*/ 4446650 w 4446650"/>
              <a:gd name="connsiteY1" fmla="*/ 2223325 h 4446650"/>
              <a:gd name="connsiteX2" fmla="*/ 2223325 w 4446650"/>
              <a:gd name="connsiteY2" fmla="*/ 4446650 h 4446650"/>
              <a:gd name="connsiteX3" fmla="*/ 0 w 4446650"/>
              <a:gd name="connsiteY3" fmla="*/ 2223325 h 4446650"/>
              <a:gd name="connsiteX4" fmla="*/ 2223325 w 4446650"/>
              <a:gd name="connsiteY4" fmla="*/ 0 h 4446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46650" h="4446650">
                <a:moveTo>
                  <a:pt x="2223325" y="0"/>
                </a:moveTo>
                <a:cubicBezTo>
                  <a:pt x="3451233" y="0"/>
                  <a:pt x="4446650" y="995417"/>
                  <a:pt x="4446650" y="2223325"/>
                </a:cubicBezTo>
                <a:cubicBezTo>
                  <a:pt x="4446650" y="3451233"/>
                  <a:pt x="3451233" y="4446650"/>
                  <a:pt x="2223325" y="4446650"/>
                </a:cubicBezTo>
                <a:cubicBezTo>
                  <a:pt x="995417" y="4446650"/>
                  <a:pt x="0" y="3451233"/>
                  <a:pt x="0" y="2223325"/>
                </a:cubicBezTo>
                <a:cubicBezTo>
                  <a:pt x="0" y="995417"/>
                  <a:pt x="995417" y="0"/>
                  <a:pt x="2223325" y="0"/>
                </a:cubicBezTo>
                <a:close/>
              </a:path>
            </a:pathLst>
          </a:custGeom>
        </p:spPr>
      </p:pic>
      <p:sp>
        <p:nvSpPr>
          <p:cNvPr id="6" name="Oval 5">
            <a:extLst>
              <a:ext uri="{FF2B5EF4-FFF2-40B4-BE49-F238E27FC236}">
                <a16:creationId xmlns:a16="http://schemas.microsoft.com/office/drawing/2014/main" id="{2A58A6FB-24A2-4A27-8181-6B6DD240EBB2}"/>
              </a:ext>
            </a:extLst>
          </p:cNvPr>
          <p:cNvSpPr/>
          <p:nvPr/>
        </p:nvSpPr>
        <p:spPr>
          <a:xfrm>
            <a:off x="3811331" y="4575688"/>
            <a:ext cx="1422400" cy="1422400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1703243E-44E4-457F-80BE-7AA8096FA0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1" y="457704"/>
            <a:ext cx="5529942" cy="741568"/>
          </a:xfrm>
        </p:spPr>
        <p:txBody>
          <a:bodyPr lIns="0" rIns="0">
            <a:norm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erformance</a:t>
            </a: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DBE26754-A8EE-45ED-AD2C-1D7BC6C96481}"/>
              </a:ext>
            </a:extLst>
          </p:cNvPr>
          <p:cNvSpPr/>
          <p:nvPr/>
        </p:nvSpPr>
        <p:spPr>
          <a:xfrm>
            <a:off x="6495049" y="2556263"/>
            <a:ext cx="971518" cy="971518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51E668B5-104D-4900-8130-C67C60CD123C}"/>
              </a:ext>
            </a:extLst>
          </p:cNvPr>
          <p:cNvSpPr/>
          <p:nvPr/>
        </p:nvSpPr>
        <p:spPr>
          <a:xfrm>
            <a:off x="8380826" y="2556263"/>
            <a:ext cx="971518" cy="971518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A40714D9-0357-486C-ADB2-0041C25416E3}"/>
              </a:ext>
            </a:extLst>
          </p:cNvPr>
          <p:cNvSpPr/>
          <p:nvPr/>
        </p:nvSpPr>
        <p:spPr>
          <a:xfrm>
            <a:off x="10266603" y="2556263"/>
            <a:ext cx="971518" cy="971518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E7629AD3-06D2-4F08-A9C3-1728F5520D12}"/>
              </a:ext>
            </a:extLst>
          </p:cNvPr>
          <p:cNvSpPr/>
          <p:nvPr/>
        </p:nvSpPr>
        <p:spPr>
          <a:xfrm>
            <a:off x="6675899" y="2740405"/>
            <a:ext cx="603235" cy="603235"/>
          </a:xfrm>
          <a:prstGeom prst="ellipse">
            <a:avLst/>
          </a:prstGeom>
          <a:solidFill>
            <a:srgbClr val="FFD100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4FF52474-E8B1-476E-A066-2F057C038851}"/>
              </a:ext>
            </a:extLst>
          </p:cNvPr>
          <p:cNvSpPr/>
          <p:nvPr/>
        </p:nvSpPr>
        <p:spPr>
          <a:xfrm>
            <a:off x="8561676" y="2740405"/>
            <a:ext cx="603235" cy="603235"/>
          </a:xfrm>
          <a:prstGeom prst="ellipse">
            <a:avLst/>
          </a:prstGeom>
          <a:solidFill>
            <a:srgbClr val="FFD100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712C8BFD-AF13-41E5-8233-490987B304F7}"/>
              </a:ext>
            </a:extLst>
          </p:cNvPr>
          <p:cNvSpPr/>
          <p:nvPr/>
        </p:nvSpPr>
        <p:spPr>
          <a:xfrm>
            <a:off x="10447453" y="2740405"/>
            <a:ext cx="603235" cy="603235"/>
          </a:xfrm>
          <a:prstGeom prst="ellipse">
            <a:avLst/>
          </a:prstGeom>
          <a:solidFill>
            <a:srgbClr val="FFD100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itle 1">
            <a:extLst>
              <a:ext uri="{FF2B5EF4-FFF2-40B4-BE49-F238E27FC236}">
                <a16:creationId xmlns:a16="http://schemas.microsoft.com/office/drawing/2014/main" id="{E63FFAA8-15DA-4D24-AB88-1B8C66AC4264}"/>
              </a:ext>
            </a:extLst>
          </p:cNvPr>
          <p:cNvSpPr txBox="1">
            <a:spLocks/>
          </p:cNvSpPr>
          <p:nvPr/>
        </p:nvSpPr>
        <p:spPr>
          <a:xfrm>
            <a:off x="6124672" y="1407657"/>
            <a:ext cx="5501148" cy="10409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endParaRPr lang="en-US" sz="20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0689934C-C9A0-4825-ACAB-5C8EEBD0BDE0}"/>
              </a:ext>
            </a:extLst>
          </p:cNvPr>
          <p:cNvGrpSpPr/>
          <p:nvPr/>
        </p:nvGrpSpPr>
        <p:grpSpPr>
          <a:xfrm>
            <a:off x="6847631" y="2912136"/>
            <a:ext cx="259771" cy="259772"/>
            <a:chOff x="6773863" y="639763"/>
            <a:chExt cx="771525" cy="771526"/>
          </a:xfrm>
          <a:effectLst>
            <a:outerShdw dist="381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53" name="Freeform 54">
              <a:extLst>
                <a:ext uri="{FF2B5EF4-FFF2-40B4-BE49-F238E27FC236}">
                  <a16:creationId xmlns:a16="http://schemas.microsoft.com/office/drawing/2014/main" id="{740C56B3-48FD-4A1B-AF2C-7C1ED2DC9D08}"/>
                </a:ext>
              </a:extLst>
            </p:cNvPr>
            <p:cNvSpPr>
              <a:spLocks/>
            </p:cNvSpPr>
            <p:nvPr/>
          </p:nvSpPr>
          <p:spPr bwMode="auto">
            <a:xfrm>
              <a:off x="6773863" y="684213"/>
              <a:ext cx="771525" cy="147638"/>
            </a:xfrm>
            <a:custGeom>
              <a:avLst/>
              <a:gdLst>
                <a:gd name="T0" fmla="*/ 204 w 204"/>
                <a:gd name="T1" fmla="*/ 39 h 39"/>
                <a:gd name="T2" fmla="*/ 0 w 204"/>
                <a:gd name="T3" fmla="*/ 39 h 39"/>
                <a:gd name="T4" fmla="*/ 0 w 204"/>
                <a:gd name="T5" fmla="*/ 20 h 39"/>
                <a:gd name="T6" fmla="*/ 19 w 204"/>
                <a:gd name="T7" fmla="*/ 0 h 39"/>
                <a:gd name="T8" fmla="*/ 185 w 204"/>
                <a:gd name="T9" fmla="*/ 0 h 39"/>
                <a:gd name="T10" fmla="*/ 204 w 204"/>
                <a:gd name="T11" fmla="*/ 20 h 39"/>
                <a:gd name="T12" fmla="*/ 204 w 204"/>
                <a:gd name="T13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4" h="39">
                  <a:moveTo>
                    <a:pt x="204" y="39"/>
                  </a:moveTo>
                  <a:cubicBezTo>
                    <a:pt x="0" y="39"/>
                    <a:pt x="0" y="39"/>
                    <a:pt x="0" y="39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8" y="0"/>
                    <a:pt x="19" y="0"/>
                  </a:cubicBezTo>
                  <a:cubicBezTo>
                    <a:pt x="185" y="0"/>
                    <a:pt x="185" y="0"/>
                    <a:pt x="185" y="0"/>
                  </a:cubicBezTo>
                  <a:cubicBezTo>
                    <a:pt x="196" y="0"/>
                    <a:pt x="204" y="9"/>
                    <a:pt x="204" y="20"/>
                  </a:cubicBezTo>
                  <a:lnTo>
                    <a:pt x="204" y="39"/>
                  </a:lnTo>
                  <a:close/>
                </a:path>
              </a:pathLst>
            </a:custGeom>
            <a:solidFill>
              <a:srgbClr val="DF2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4" name="Freeform 55">
              <a:extLst>
                <a:ext uri="{FF2B5EF4-FFF2-40B4-BE49-F238E27FC236}">
                  <a16:creationId xmlns:a16="http://schemas.microsoft.com/office/drawing/2014/main" id="{9259A585-1DEB-4486-9190-67823126687E}"/>
                </a:ext>
              </a:extLst>
            </p:cNvPr>
            <p:cNvSpPr>
              <a:spLocks/>
            </p:cNvSpPr>
            <p:nvPr/>
          </p:nvSpPr>
          <p:spPr bwMode="auto">
            <a:xfrm>
              <a:off x="6773863" y="684213"/>
              <a:ext cx="355600" cy="147638"/>
            </a:xfrm>
            <a:custGeom>
              <a:avLst/>
              <a:gdLst>
                <a:gd name="T0" fmla="*/ 94 w 94"/>
                <a:gd name="T1" fmla="*/ 0 h 39"/>
                <a:gd name="T2" fmla="*/ 19 w 94"/>
                <a:gd name="T3" fmla="*/ 0 h 39"/>
                <a:gd name="T4" fmla="*/ 0 w 94"/>
                <a:gd name="T5" fmla="*/ 20 h 39"/>
                <a:gd name="T6" fmla="*/ 0 w 94"/>
                <a:gd name="T7" fmla="*/ 39 h 39"/>
                <a:gd name="T8" fmla="*/ 55 w 94"/>
                <a:gd name="T9" fmla="*/ 39 h 39"/>
                <a:gd name="T10" fmla="*/ 94 w 94"/>
                <a:gd name="T1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4" h="39">
                  <a:moveTo>
                    <a:pt x="94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8" y="0"/>
                    <a:pt x="0" y="9"/>
                    <a:pt x="0" y="20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55" y="39"/>
                    <a:pt x="55" y="39"/>
                    <a:pt x="55" y="39"/>
                  </a:cubicBezTo>
                  <a:lnTo>
                    <a:pt x="94" y="0"/>
                  </a:lnTo>
                  <a:close/>
                </a:path>
              </a:pathLst>
            </a:custGeom>
            <a:solidFill>
              <a:srgbClr val="FA5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5" name="Freeform 56">
              <a:extLst>
                <a:ext uri="{FF2B5EF4-FFF2-40B4-BE49-F238E27FC236}">
                  <a16:creationId xmlns:a16="http://schemas.microsoft.com/office/drawing/2014/main" id="{AD805C3C-911B-4023-9422-3D5B55E545A9}"/>
                </a:ext>
              </a:extLst>
            </p:cNvPr>
            <p:cNvSpPr>
              <a:spLocks/>
            </p:cNvSpPr>
            <p:nvPr/>
          </p:nvSpPr>
          <p:spPr bwMode="auto">
            <a:xfrm>
              <a:off x="6773863" y="831851"/>
              <a:ext cx="771525" cy="579438"/>
            </a:xfrm>
            <a:custGeom>
              <a:avLst/>
              <a:gdLst>
                <a:gd name="T0" fmla="*/ 204 w 204"/>
                <a:gd name="T1" fmla="*/ 134 h 153"/>
                <a:gd name="T2" fmla="*/ 185 w 204"/>
                <a:gd name="T3" fmla="*/ 153 h 153"/>
                <a:gd name="T4" fmla="*/ 19 w 204"/>
                <a:gd name="T5" fmla="*/ 153 h 153"/>
                <a:gd name="T6" fmla="*/ 0 w 204"/>
                <a:gd name="T7" fmla="*/ 134 h 153"/>
                <a:gd name="T8" fmla="*/ 0 w 204"/>
                <a:gd name="T9" fmla="*/ 0 h 153"/>
                <a:gd name="T10" fmla="*/ 204 w 204"/>
                <a:gd name="T11" fmla="*/ 0 h 153"/>
                <a:gd name="T12" fmla="*/ 204 w 204"/>
                <a:gd name="T13" fmla="*/ 134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4" h="153">
                  <a:moveTo>
                    <a:pt x="204" y="134"/>
                  </a:moveTo>
                  <a:cubicBezTo>
                    <a:pt x="204" y="145"/>
                    <a:pt x="196" y="153"/>
                    <a:pt x="185" y="153"/>
                  </a:cubicBezTo>
                  <a:cubicBezTo>
                    <a:pt x="19" y="153"/>
                    <a:pt x="19" y="153"/>
                    <a:pt x="19" y="153"/>
                  </a:cubicBezTo>
                  <a:cubicBezTo>
                    <a:pt x="8" y="153"/>
                    <a:pt x="0" y="145"/>
                    <a:pt x="0" y="13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4" y="0"/>
                    <a:pt x="204" y="0"/>
                    <a:pt x="204" y="0"/>
                  </a:cubicBezTo>
                  <a:lnTo>
                    <a:pt x="204" y="1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6" name="Rectangle 57">
              <a:extLst>
                <a:ext uri="{FF2B5EF4-FFF2-40B4-BE49-F238E27FC236}">
                  <a16:creationId xmlns:a16="http://schemas.microsoft.com/office/drawing/2014/main" id="{5249476F-C2A3-47FD-9DFE-12BBDA05DC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38976" y="927101"/>
              <a:ext cx="120650" cy="109538"/>
            </a:xfrm>
            <a:prstGeom prst="rect">
              <a:avLst/>
            </a:prstGeom>
            <a:solidFill>
              <a:srgbClr val="40C9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7" name="Rectangle 58">
              <a:extLst>
                <a:ext uri="{FF2B5EF4-FFF2-40B4-BE49-F238E27FC236}">
                  <a16:creationId xmlns:a16="http://schemas.microsoft.com/office/drawing/2014/main" id="{188D1DC1-E992-4E5D-92EA-154BAA17E84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27863" y="1063626"/>
              <a:ext cx="120650" cy="104775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8" name="Rectangle 59">
              <a:extLst>
                <a:ext uri="{FF2B5EF4-FFF2-40B4-BE49-F238E27FC236}">
                  <a16:creationId xmlns:a16="http://schemas.microsoft.com/office/drawing/2014/main" id="{FCFBD843-EAA5-4213-81D9-801D5C3CA0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0738" y="1063626"/>
              <a:ext cx="122238" cy="104775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9" name="Rectangle 60">
              <a:extLst>
                <a:ext uri="{FF2B5EF4-FFF2-40B4-BE49-F238E27FC236}">
                  <a16:creationId xmlns:a16="http://schemas.microsoft.com/office/drawing/2014/main" id="{F96DCAE9-EA96-4109-926B-EF75CD59DF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69113" y="927101"/>
              <a:ext cx="131763" cy="109538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0" name="Rectangle 61">
              <a:extLst>
                <a:ext uri="{FF2B5EF4-FFF2-40B4-BE49-F238E27FC236}">
                  <a16:creationId xmlns:a16="http://schemas.microsoft.com/office/drawing/2014/main" id="{616662D0-955E-4824-AECE-6866ADE9F5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0738" y="927101"/>
              <a:ext cx="122238" cy="109538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1" name="Rectangle 62">
              <a:extLst>
                <a:ext uri="{FF2B5EF4-FFF2-40B4-BE49-F238E27FC236}">
                  <a16:creationId xmlns:a16="http://schemas.microsoft.com/office/drawing/2014/main" id="{3F611A55-568B-4B8D-A35F-0966E78C34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0738" y="1195388"/>
              <a:ext cx="122238" cy="120650"/>
            </a:xfrm>
            <a:prstGeom prst="rect">
              <a:avLst/>
            </a:prstGeom>
            <a:solidFill>
              <a:srgbClr val="40C9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2" name="Rectangle 63">
              <a:extLst>
                <a:ext uri="{FF2B5EF4-FFF2-40B4-BE49-F238E27FC236}">
                  <a16:creationId xmlns:a16="http://schemas.microsoft.com/office/drawing/2014/main" id="{A5E65AB1-C895-4E26-A5ED-652EC83C1C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18376" y="1063626"/>
              <a:ext cx="120650" cy="104775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3" name="Rectangle 64">
              <a:extLst>
                <a:ext uri="{FF2B5EF4-FFF2-40B4-BE49-F238E27FC236}">
                  <a16:creationId xmlns:a16="http://schemas.microsoft.com/office/drawing/2014/main" id="{39E95FC6-7DFD-479B-8587-E91464845D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18376" y="927101"/>
              <a:ext cx="120650" cy="109538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4" name="Rectangle 65">
              <a:extLst>
                <a:ext uri="{FF2B5EF4-FFF2-40B4-BE49-F238E27FC236}">
                  <a16:creationId xmlns:a16="http://schemas.microsoft.com/office/drawing/2014/main" id="{51B96164-3236-4F76-86B6-63ADEFE9EF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18376" y="1195388"/>
              <a:ext cx="120650" cy="120650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5" name="Rectangle 66">
              <a:extLst>
                <a:ext uri="{FF2B5EF4-FFF2-40B4-BE49-F238E27FC236}">
                  <a16:creationId xmlns:a16="http://schemas.microsoft.com/office/drawing/2014/main" id="{B59F964E-D81A-41D1-B205-57DC014F2B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69113" y="1063626"/>
              <a:ext cx="131763" cy="104775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6" name="Rectangle 67">
              <a:extLst>
                <a:ext uri="{FF2B5EF4-FFF2-40B4-BE49-F238E27FC236}">
                  <a16:creationId xmlns:a16="http://schemas.microsoft.com/office/drawing/2014/main" id="{C66110BE-E778-4269-B3D9-255AB54647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69113" y="1195388"/>
              <a:ext cx="131763" cy="120650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7" name="Rectangle 68">
              <a:extLst>
                <a:ext uri="{FF2B5EF4-FFF2-40B4-BE49-F238E27FC236}">
                  <a16:creationId xmlns:a16="http://schemas.microsoft.com/office/drawing/2014/main" id="{E887E1D8-A990-4898-8F9E-B3F88C298E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27863" y="1195388"/>
              <a:ext cx="120650" cy="120650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8" name="Freeform 69">
              <a:extLst>
                <a:ext uri="{FF2B5EF4-FFF2-40B4-BE49-F238E27FC236}">
                  <a16:creationId xmlns:a16="http://schemas.microsoft.com/office/drawing/2014/main" id="{C8D0E38F-EA0F-4FCC-838F-704E51EC93D5}"/>
                </a:ext>
              </a:extLst>
            </p:cNvPr>
            <p:cNvSpPr>
              <a:spLocks/>
            </p:cNvSpPr>
            <p:nvPr/>
          </p:nvSpPr>
          <p:spPr bwMode="auto">
            <a:xfrm>
              <a:off x="6869113" y="639763"/>
              <a:ext cx="71438" cy="142875"/>
            </a:xfrm>
            <a:custGeom>
              <a:avLst/>
              <a:gdLst>
                <a:gd name="T0" fmla="*/ 19 w 19"/>
                <a:gd name="T1" fmla="*/ 28 h 38"/>
                <a:gd name="T2" fmla="*/ 10 w 19"/>
                <a:gd name="T3" fmla="*/ 38 h 38"/>
                <a:gd name="T4" fmla="*/ 0 w 19"/>
                <a:gd name="T5" fmla="*/ 28 h 38"/>
                <a:gd name="T6" fmla="*/ 0 w 19"/>
                <a:gd name="T7" fmla="*/ 9 h 38"/>
                <a:gd name="T8" fmla="*/ 10 w 19"/>
                <a:gd name="T9" fmla="*/ 0 h 38"/>
                <a:gd name="T10" fmla="*/ 19 w 19"/>
                <a:gd name="T11" fmla="*/ 9 h 38"/>
                <a:gd name="T12" fmla="*/ 19 w 19"/>
                <a:gd name="T13" fmla="*/ 2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38">
                  <a:moveTo>
                    <a:pt x="19" y="28"/>
                  </a:moveTo>
                  <a:cubicBezTo>
                    <a:pt x="19" y="34"/>
                    <a:pt x="15" y="38"/>
                    <a:pt x="10" y="38"/>
                  </a:cubicBezTo>
                  <a:cubicBezTo>
                    <a:pt x="5" y="38"/>
                    <a:pt x="0" y="34"/>
                    <a:pt x="0" y="2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5" y="0"/>
                    <a:pt x="10" y="0"/>
                  </a:cubicBezTo>
                  <a:cubicBezTo>
                    <a:pt x="15" y="0"/>
                    <a:pt x="19" y="4"/>
                    <a:pt x="19" y="9"/>
                  </a:cubicBezTo>
                  <a:lnTo>
                    <a:pt x="19" y="28"/>
                  </a:lnTo>
                  <a:close/>
                </a:path>
              </a:pathLst>
            </a:custGeom>
            <a:solidFill>
              <a:srgbClr val="3E3E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9" name="Freeform 70">
              <a:extLst>
                <a:ext uri="{FF2B5EF4-FFF2-40B4-BE49-F238E27FC236}">
                  <a16:creationId xmlns:a16="http://schemas.microsoft.com/office/drawing/2014/main" id="{3CD93E22-0FBA-45AD-B979-370061486E0D}"/>
                </a:ext>
              </a:extLst>
            </p:cNvPr>
            <p:cNvSpPr>
              <a:spLocks/>
            </p:cNvSpPr>
            <p:nvPr/>
          </p:nvSpPr>
          <p:spPr bwMode="auto">
            <a:xfrm>
              <a:off x="7378701" y="639763"/>
              <a:ext cx="73025" cy="142875"/>
            </a:xfrm>
            <a:custGeom>
              <a:avLst/>
              <a:gdLst>
                <a:gd name="T0" fmla="*/ 19 w 19"/>
                <a:gd name="T1" fmla="*/ 28 h 38"/>
                <a:gd name="T2" fmla="*/ 9 w 19"/>
                <a:gd name="T3" fmla="*/ 38 h 38"/>
                <a:gd name="T4" fmla="*/ 0 w 19"/>
                <a:gd name="T5" fmla="*/ 28 h 38"/>
                <a:gd name="T6" fmla="*/ 0 w 19"/>
                <a:gd name="T7" fmla="*/ 9 h 38"/>
                <a:gd name="T8" fmla="*/ 9 w 19"/>
                <a:gd name="T9" fmla="*/ 0 h 38"/>
                <a:gd name="T10" fmla="*/ 19 w 19"/>
                <a:gd name="T11" fmla="*/ 9 h 38"/>
                <a:gd name="T12" fmla="*/ 19 w 19"/>
                <a:gd name="T13" fmla="*/ 2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38">
                  <a:moveTo>
                    <a:pt x="19" y="28"/>
                  </a:moveTo>
                  <a:cubicBezTo>
                    <a:pt x="19" y="34"/>
                    <a:pt x="14" y="38"/>
                    <a:pt x="9" y="38"/>
                  </a:cubicBezTo>
                  <a:cubicBezTo>
                    <a:pt x="4" y="38"/>
                    <a:pt x="0" y="34"/>
                    <a:pt x="0" y="2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14" y="0"/>
                    <a:pt x="19" y="4"/>
                    <a:pt x="19" y="9"/>
                  </a:cubicBezTo>
                  <a:lnTo>
                    <a:pt x="19" y="28"/>
                  </a:lnTo>
                  <a:close/>
                </a:path>
              </a:pathLst>
            </a:custGeom>
            <a:solidFill>
              <a:srgbClr val="3E3E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0" name="Freeform 71">
              <a:extLst>
                <a:ext uri="{FF2B5EF4-FFF2-40B4-BE49-F238E27FC236}">
                  <a16:creationId xmlns:a16="http://schemas.microsoft.com/office/drawing/2014/main" id="{7626CB74-483C-4EA7-97EE-33A6F06015B6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1526" y="639763"/>
              <a:ext cx="76200" cy="142875"/>
            </a:xfrm>
            <a:custGeom>
              <a:avLst/>
              <a:gdLst>
                <a:gd name="T0" fmla="*/ 20 w 20"/>
                <a:gd name="T1" fmla="*/ 28 h 38"/>
                <a:gd name="T2" fmla="*/ 10 w 20"/>
                <a:gd name="T3" fmla="*/ 38 h 38"/>
                <a:gd name="T4" fmla="*/ 0 w 20"/>
                <a:gd name="T5" fmla="*/ 28 h 38"/>
                <a:gd name="T6" fmla="*/ 0 w 20"/>
                <a:gd name="T7" fmla="*/ 9 h 38"/>
                <a:gd name="T8" fmla="*/ 10 w 20"/>
                <a:gd name="T9" fmla="*/ 0 h 38"/>
                <a:gd name="T10" fmla="*/ 20 w 20"/>
                <a:gd name="T11" fmla="*/ 9 h 38"/>
                <a:gd name="T12" fmla="*/ 20 w 20"/>
                <a:gd name="T13" fmla="*/ 2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38">
                  <a:moveTo>
                    <a:pt x="20" y="28"/>
                  </a:moveTo>
                  <a:cubicBezTo>
                    <a:pt x="20" y="34"/>
                    <a:pt x="15" y="38"/>
                    <a:pt x="10" y="38"/>
                  </a:cubicBezTo>
                  <a:cubicBezTo>
                    <a:pt x="5" y="38"/>
                    <a:pt x="0" y="34"/>
                    <a:pt x="0" y="2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5" y="0"/>
                    <a:pt x="10" y="0"/>
                  </a:cubicBezTo>
                  <a:cubicBezTo>
                    <a:pt x="15" y="0"/>
                    <a:pt x="20" y="4"/>
                    <a:pt x="20" y="9"/>
                  </a:cubicBezTo>
                  <a:lnTo>
                    <a:pt x="20" y="28"/>
                  </a:lnTo>
                  <a:close/>
                </a:path>
              </a:pathLst>
            </a:custGeom>
            <a:solidFill>
              <a:srgbClr val="3E3E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751F252D-8D24-4F4B-ADFA-DDA24BFECA12}"/>
              </a:ext>
            </a:extLst>
          </p:cNvPr>
          <p:cNvGrpSpPr/>
          <p:nvPr/>
        </p:nvGrpSpPr>
        <p:grpSpPr>
          <a:xfrm>
            <a:off x="8732071" y="2910800"/>
            <a:ext cx="262445" cy="262445"/>
            <a:chOff x="10369550" y="5518150"/>
            <a:chExt cx="779463" cy="779463"/>
          </a:xfrm>
          <a:effectLst>
            <a:outerShdw dist="381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73" name="Freeform 231">
              <a:extLst>
                <a:ext uri="{FF2B5EF4-FFF2-40B4-BE49-F238E27FC236}">
                  <a16:creationId xmlns:a16="http://schemas.microsoft.com/office/drawing/2014/main" id="{9CEF990B-9DCF-4476-8057-FF994F2BB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69550" y="5956300"/>
              <a:ext cx="336550" cy="341313"/>
            </a:xfrm>
            <a:custGeom>
              <a:avLst/>
              <a:gdLst>
                <a:gd name="T0" fmla="*/ 89 w 89"/>
                <a:gd name="T1" fmla="*/ 26 h 90"/>
                <a:gd name="T2" fmla="*/ 33 w 89"/>
                <a:gd name="T3" fmla="*/ 83 h 90"/>
                <a:gd name="T4" fmla="*/ 7 w 89"/>
                <a:gd name="T5" fmla="*/ 83 h 90"/>
                <a:gd name="T6" fmla="*/ 7 w 89"/>
                <a:gd name="T7" fmla="*/ 57 h 90"/>
                <a:gd name="T8" fmla="*/ 64 w 89"/>
                <a:gd name="T9" fmla="*/ 0 h 90"/>
                <a:gd name="T10" fmla="*/ 89 w 89"/>
                <a:gd name="T11" fmla="*/ 26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9" h="90">
                  <a:moveTo>
                    <a:pt x="89" y="26"/>
                  </a:moveTo>
                  <a:cubicBezTo>
                    <a:pt x="33" y="83"/>
                    <a:pt x="33" y="83"/>
                    <a:pt x="33" y="83"/>
                  </a:cubicBezTo>
                  <a:cubicBezTo>
                    <a:pt x="25" y="90"/>
                    <a:pt x="14" y="90"/>
                    <a:pt x="7" y="83"/>
                  </a:cubicBezTo>
                  <a:cubicBezTo>
                    <a:pt x="0" y="75"/>
                    <a:pt x="0" y="64"/>
                    <a:pt x="7" y="57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70" y="11"/>
                    <a:pt x="79" y="19"/>
                    <a:pt x="89" y="26"/>
                  </a:cubicBezTo>
                  <a:close/>
                </a:path>
              </a:pathLst>
            </a:custGeom>
            <a:solidFill>
              <a:srgbClr val="8446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4" name="Freeform 232">
              <a:extLst>
                <a:ext uri="{FF2B5EF4-FFF2-40B4-BE49-F238E27FC236}">
                  <a16:creationId xmlns:a16="http://schemas.microsoft.com/office/drawing/2014/main" id="{D3CCD31B-0E6A-44CC-9670-E77B91A03DE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69550" y="5956300"/>
              <a:ext cx="284163" cy="311150"/>
            </a:xfrm>
            <a:custGeom>
              <a:avLst/>
              <a:gdLst>
                <a:gd name="T0" fmla="*/ 75 w 75"/>
                <a:gd name="T1" fmla="*/ 14 h 82"/>
                <a:gd name="T2" fmla="*/ 7 w 75"/>
                <a:gd name="T3" fmla="*/ 82 h 82"/>
                <a:gd name="T4" fmla="*/ 7 w 75"/>
                <a:gd name="T5" fmla="*/ 57 h 82"/>
                <a:gd name="T6" fmla="*/ 64 w 75"/>
                <a:gd name="T7" fmla="*/ 0 h 82"/>
                <a:gd name="T8" fmla="*/ 75 w 75"/>
                <a:gd name="T9" fmla="*/ 14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5" h="82">
                  <a:moveTo>
                    <a:pt x="75" y="14"/>
                  </a:moveTo>
                  <a:cubicBezTo>
                    <a:pt x="7" y="82"/>
                    <a:pt x="7" y="82"/>
                    <a:pt x="7" y="82"/>
                  </a:cubicBezTo>
                  <a:cubicBezTo>
                    <a:pt x="0" y="75"/>
                    <a:pt x="0" y="64"/>
                    <a:pt x="7" y="57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7" y="5"/>
                    <a:pt x="71" y="10"/>
                    <a:pt x="75" y="14"/>
                  </a:cubicBezTo>
                  <a:close/>
                </a:path>
              </a:pathLst>
            </a:custGeom>
            <a:solidFill>
              <a:srgbClr val="9C6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5" name="Freeform 233">
              <a:extLst>
                <a:ext uri="{FF2B5EF4-FFF2-40B4-BE49-F238E27FC236}">
                  <a16:creationId xmlns:a16="http://schemas.microsoft.com/office/drawing/2014/main" id="{4A4A2158-2897-4BA6-B2CA-5E75C0F35F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9575" y="5518150"/>
              <a:ext cx="579438" cy="577850"/>
            </a:xfrm>
            <a:custGeom>
              <a:avLst/>
              <a:gdLst>
                <a:gd name="T0" fmla="*/ 153 w 153"/>
                <a:gd name="T1" fmla="*/ 76 h 153"/>
                <a:gd name="T2" fmla="*/ 77 w 153"/>
                <a:gd name="T3" fmla="*/ 153 h 153"/>
                <a:gd name="T4" fmla="*/ 0 w 153"/>
                <a:gd name="T5" fmla="*/ 76 h 153"/>
                <a:gd name="T6" fmla="*/ 77 w 153"/>
                <a:gd name="T7" fmla="*/ 0 h 153"/>
                <a:gd name="T8" fmla="*/ 153 w 153"/>
                <a:gd name="T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cubicBezTo>
                    <a:pt x="153" y="119"/>
                    <a:pt x="119" y="153"/>
                    <a:pt x="77" y="153"/>
                  </a:cubicBezTo>
                  <a:cubicBezTo>
                    <a:pt x="34" y="153"/>
                    <a:pt x="0" y="118"/>
                    <a:pt x="0" y="76"/>
                  </a:cubicBezTo>
                  <a:cubicBezTo>
                    <a:pt x="0" y="34"/>
                    <a:pt x="34" y="0"/>
                    <a:pt x="77" y="0"/>
                  </a:cubicBezTo>
                  <a:cubicBezTo>
                    <a:pt x="119" y="0"/>
                    <a:pt x="153" y="34"/>
                    <a:pt x="153" y="76"/>
                  </a:cubicBezTo>
                  <a:close/>
                </a:path>
              </a:pathLst>
            </a:custGeom>
            <a:solidFill>
              <a:srgbClr val="F0F1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6" name="Oval 234">
              <a:extLst>
                <a:ext uri="{FF2B5EF4-FFF2-40B4-BE49-F238E27FC236}">
                  <a16:creationId xmlns:a16="http://schemas.microsoft.com/office/drawing/2014/main" id="{FE6C0AF9-AFF3-4A62-B49F-2A2BDD14EA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29900" y="5578475"/>
              <a:ext cx="458788" cy="457200"/>
            </a:xfrm>
            <a:prstGeom prst="ellipse">
              <a:avLst/>
            </a:prstGeom>
            <a:solidFill>
              <a:srgbClr val="40C9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7" name="Freeform 235">
              <a:extLst>
                <a:ext uri="{FF2B5EF4-FFF2-40B4-BE49-F238E27FC236}">
                  <a16:creationId xmlns:a16="http://schemas.microsoft.com/office/drawing/2014/main" id="{D2088C3D-E467-4638-A23D-B7574323BC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29900" y="5578475"/>
              <a:ext cx="390525" cy="388938"/>
            </a:xfrm>
            <a:custGeom>
              <a:avLst/>
              <a:gdLst>
                <a:gd name="T0" fmla="*/ 0 w 103"/>
                <a:gd name="T1" fmla="*/ 60 h 103"/>
                <a:gd name="T2" fmla="*/ 61 w 103"/>
                <a:gd name="T3" fmla="*/ 0 h 103"/>
                <a:gd name="T4" fmla="*/ 103 w 103"/>
                <a:gd name="T5" fmla="*/ 17 h 103"/>
                <a:gd name="T6" fmla="*/ 17 w 103"/>
                <a:gd name="T7" fmla="*/ 103 h 103"/>
                <a:gd name="T8" fmla="*/ 0 w 103"/>
                <a:gd name="T9" fmla="*/ 6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3" h="103">
                  <a:moveTo>
                    <a:pt x="0" y="60"/>
                  </a:moveTo>
                  <a:cubicBezTo>
                    <a:pt x="0" y="27"/>
                    <a:pt x="27" y="0"/>
                    <a:pt x="61" y="0"/>
                  </a:cubicBezTo>
                  <a:cubicBezTo>
                    <a:pt x="77" y="0"/>
                    <a:pt x="92" y="6"/>
                    <a:pt x="103" y="17"/>
                  </a:cubicBezTo>
                  <a:cubicBezTo>
                    <a:pt x="17" y="103"/>
                    <a:pt x="17" y="103"/>
                    <a:pt x="17" y="103"/>
                  </a:cubicBezTo>
                  <a:cubicBezTo>
                    <a:pt x="6" y="92"/>
                    <a:pt x="0" y="77"/>
                    <a:pt x="0" y="60"/>
                  </a:cubicBezTo>
                  <a:close/>
                </a:path>
              </a:pathLst>
            </a:custGeom>
            <a:solidFill>
              <a:srgbClr val="6FDA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6C0F2FDD-0FDD-4E72-8AE5-6EAF7DBB3AC5}"/>
              </a:ext>
            </a:extLst>
          </p:cNvPr>
          <p:cNvGrpSpPr/>
          <p:nvPr/>
        </p:nvGrpSpPr>
        <p:grpSpPr>
          <a:xfrm>
            <a:off x="10605902" y="2898854"/>
            <a:ext cx="286336" cy="286337"/>
            <a:chOff x="8624888" y="2216150"/>
            <a:chExt cx="773112" cy="773113"/>
          </a:xfrm>
          <a:effectLst>
            <a:outerShdw dist="381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80" name="Freeform 117">
              <a:extLst>
                <a:ext uri="{FF2B5EF4-FFF2-40B4-BE49-F238E27FC236}">
                  <a16:creationId xmlns:a16="http://schemas.microsoft.com/office/drawing/2014/main" id="{9B36D8B2-14D8-4217-8002-AB60215CE9D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24888" y="2216150"/>
              <a:ext cx="773112" cy="773113"/>
            </a:xfrm>
            <a:custGeom>
              <a:avLst/>
              <a:gdLst>
                <a:gd name="T0" fmla="*/ 102 w 204"/>
                <a:gd name="T1" fmla="*/ 160 h 204"/>
                <a:gd name="T2" fmla="*/ 44 w 204"/>
                <a:gd name="T3" fmla="*/ 102 h 204"/>
                <a:gd name="T4" fmla="*/ 102 w 204"/>
                <a:gd name="T5" fmla="*/ 44 h 204"/>
                <a:gd name="T6" fmla="*/ 160 w 204"/>
                <a:gd name="T7" fmla="*/ 102 h 204"/>
                <a:gd name="T8" fmla="*/ 102 w 204"/>
                <a:gd name="T9" fmla="*/ 160 h 204"/>
                <a:gd name="T10" fmla="*/ 198 w 204"/>
                <a:gd name="T11" fmla="*/ 89 h 204"/>
                <a:gd name="T12" fmla="*/ 178 w 204"/>
                <a:gd name="T13" fmla="*/ 89 h 204"/>
                <a:gd name="T14" fmla="*/ 165 w 204"/>
                <a:gd name="T15" fmla="*/ 58 h 204"/>
                <a:gd name="T16" fmla="*/ 179 w 204"/>
                <a:gd name="T17" fmla="*/ 43 h 204"/>
                <a:gd name="T18" fmla="*/ 179 w 204"/>
                <a:gd name="T19" fmla="*/ 34 h 204"/>
                <a:gd name="T20" fmla="*/ 170 w 204"/>
                <a:gd name="T21" fmla="*/ 25 h 204"/>
                <a:gd name="T22" fmla="*/ 161 w 204"/>
                <a:gd name="T23" fmla="*/ 25 h 204"/>
                <a:gd name="T24" fmla="*/ 146 w 204"/>
                <a:gd name="T25" fmla="*/ 39 h 204"/>
                <a:gd name="T26" fmla="*/ 115 w 204"/>
                <a:gd name="T27" fmla="*/ 26 h 204"/>
                <a:gd name="T28" fmla="*/ 115 w 204"/>
                <a:gd name="T29" fmla="*/ 6 h 204"/>
                <a:gd name="T30" fmla="*/ 108 w 204"/>
                <a:gd name="T31" fmla="*/ 0 h 204"/>
                <a:gd name="T32" fmla="*/ 96 w 204"/>
                <a:gd name="T33" fmla="*/ 0 h 204"/>
                <a:gd name="T34" fmla="*/ 89 w 204"/>
                <a:gd name="T35" fmla="*/ 6 h 204"/>
                <a:gd name="T36" fmla="*/ 89 w 204"/>
                <a:gd name="T37" fmla="*/ 26 h 204"/>
                <a:gd name="T38" fmla="*/ 58 w 204"/>
                <a:gd name="T39" fmla="*/ 39 h 204"/>
                <a:gd name="T40" fmla="*/ 43 w 204"/>
                <a:gd name="T41" fmla="*/ 25 h 204"/>
                <a:gd name="T42" fmla="*/ 34 w 204"/>
                <a:gd name="T43" fmla="*/ 25 h 204"/>
                <a:gd name="T44" fmla="*/ 25 w 204"/>
                <a:gd name="T45" fmla="*/ 34 h 204"/>
                <a:gd name="T46" fmla="*/ 25 w 204"/>
                <a:gd name="T47" fmla="*/ 43 h 204"/>
                <a:gd name="T48" fmla="*/ 39 w 204"/>
                <a:gd name="T49" fmla="*/ 58 h 204"/>
                <a:gd name="T50" fmla="*/ 26 w 204"/>
                <a:gd name="T51" fmla="*/ 89 h 204"/>
                <a:gd name="T52" fmla="*/ 6 w 204"/>
                <a:gd name="T53" fmla="*/ 89 h 204"/>
                <a:gd name="T54" fmla="*/ 0 w 204"/>
                <a:gd name="T55" fmla="*/ 96 h 204"/>
                <a:gd name="T56" fmla="*/ 0 w 204"/>
                <a:gd name="T57" fmla="*/ 108 h 204"/>
                <a:gd name="T58" fmla="*/ 6 w 204"/>
                <a:gd name="T59" fmla="*/ 115 h 204"/>
                <a:gd name="T60" fmla="*/ 26 w 204"/>
                <a:gd name="T61" fmla="*/ 115 h 204"/>
                <a:gd name="T62" fmla="*/ 39 w 204"/>
                <a:gd name="T63" fmla="*/ 146 h 204"/>
                <a:gd name="T64" fmla="*/ 25 w 204"/>
                <a:gd name="T65" fmla="*/ 161 h 204"/>
                <a:gd name="T66" fmla="*/ 25 w 204"/>
                <a:gd name="T67" fmla="*/ 170 h 204"/>
                <a:gd name="T68" fmla="*/ 34 w 204"/>
                <a:gd name="T69" fmla="*/ 179 h 204"/>
                <a:gd name="T70" fmla="*/ 43 w 204"/>
                <a:gd name="T71" fmla="*/ 179 h 204"/>
                <a:gd name="T72" fmla="*/ 58 w 204"/>
                <a:gd name="T73" fmla="*/ 165 h 204"/>
                <a:gd name="T74" fmla="*/ 89 w 204"/>
                <a:gd name="T75" fmla="*/ 178 h 204"/>
                <a:gd name="T76" fmla="*/ 89 w 204"/>
                <a:gd name="T77" fmla="*/ 198 h 204"/>
                <a:gd name="T78" fmla="*/ 96 w 204"/>
                <a:gd name="T79" fmla="*/ 204 h 204"/>
                <a:gd name="T80" fmla="*/ 108 w 204"/>
                <a:gd name="T81" fmla="*/ 204 h 204"/>
                <a:gd name="T82" fmla="*/ 115 w 204"/>
                <a:gd name="T83" fmla="*/ 198 h 204"/>
                <a:gd name="T84" fmla="*/ 115 w 204"/>
                <a:gd name="T85" fmla="*/ 178 h 204"/>
                <a:gd name="T86" fmla="*/ 146 w 204"/>
                <a:gd name="T87" fmla="*/ 165 h 204"/>
                <a:gd name="T88" fmla="*/ 161 w 204"/>
                <a:gd name="T89" fmla="*/ 179 h 204"/>
                <a:gd name="T90" fmla="*/ 170 w 204"/>
                <a:gd name="T91" fmla="*/ 179 h 204"/>
                <a:gd name="T92" fmla="*/ 179 w 204"/>
                <a:gd name="T93" fmla="*/ 170 h 204"/>
                <a:gd name="T94" fmla="*/ 179 w 204"/>
                <a:gd name="T95" fmla="*/ 161 h 204"/>
                <a:gd name="T96" fmla="*/ 165 w 204"/>
                <a:gd name="T97" fmla="*/ 146 h 204"/>
                <a:gd name="T98" fmla="*/ 178 w 204"/>
                <a:gd name="T99" fmla="*/ 115 h 204"/>
                <a:gd name="T100" fmla="*/ 198 w 204"/>
                <a:gd name="T101" fmla="*/ 115 h 204"/>
                <a:gd name="T102" fmla="*/ 204 w 204"/>
                <a:gd name="T103" fmla="*/ 108 h 204"/>
                <a:gd name="T104" fmla="*/ 204 w 204"/>
                <a:gd name="T105" fmla="*/ 96 h 204"/>
                <a:gd name="T106" fmla="*/ 198 w 204"/>
                <a:gd name="T107" fmla="*/ 89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04" h="204">
                  <a:moveTo>
                    <a:pt x="102" y="160"/>
                  </a:moveTo>
                  <a:cubicBezTo>
                    <a:pt x="70" y="160"/>
                    <a:pt x="44" y="134"/>
                    <a:pt x="44" y="102"/>
                  </a:cubicBezTo>
                  <a:cubicBezTo>
                    <a:pt x="44" y="71"/>
                    <a:pt x="70" y="44"/>
                    <a:pt x="102" y="44"/>
                  </a:cubicBezTo>
                  <a:cubicBezTo>
                    <a:pt x="134" y="44"/>
                    <a:pt x="160" y="70"/>
                    <a:pt x="160" y="102"/>
                  </a:cubicBezTo>
                  <a:cubicBezTo>
                    <a:pt x="160" y="133"/>
                    <a:pt x="134" y="160"/>
                    <a:pt x="102" y="160"/>
                  </a:cubicBezTo>
                  <a:close/>
                  <a:moveTo>
                    <a:pt x="198" y="89"/>
                  </a:moveTo>
                  <a:cubicBezTo>
                    <a:pt x="178" y="89"/>
                    <a:pt x="178" y="89"/>
                    <a:pt x="178" y="89"/>
                  </a:cubicBezTo>
                  <a:cubicBezTo>
                    <a:pt x="176" y="78"/>
                    <a:pt x="171" y="67"/>
                    <a:pt x="165" y="58"/>
                  </a:cubicBezTo>
                  <a:cubicBezTo>
                    <a:pt x="179" y="43"/>
                    <a:pt x="179" y="43"/>
                    <a:pt x="179" y="43"/>
                  </a:cubicBezTo>
                  <a:cubicBezTo>
                    <a:pt x="181" y="41"/>
                    <a:pt x="181" y="37"/>
                    <a:pt x="179" y="34"/>
                  </a:cubicBezTo>
                  <a:cubicBezTo>
                    <a:pt x="170" y="25"/>
                    <a:pt x="170" y="25"/>
                    <a:pt x="170" y="25"/>
                  </a:cubicBezTo>
                  <a:cubicBezTo>
                    <a:pt x="167" y="23"/>
                    <a:pt x="163" y="23"/>
                    <a:pt x="161" y="25"/>
                  </a:cubicBezTo>
                  <a:cubicBezTo>
                    <a:pt x="146" y="39"/>
                    <a:pt x="146" y="39"/>
                    <a:pt x="146" y="39"/>
                  </a:cubicBezTo>
                  <a:cubicBezTo>
                    <a:pt x="137" y="33"/>
                    <a:pt x="126" y="28"/>
                    <a:pt x="115" y="26"/>
                  </a:cubicBezTo>
                  <a:cubicBezTo>
                    <a:pt x="115" y="6"/>
                    <a:pt x="115" y="6"/>
                    <a:pt x="115" y="6"/>
                  </a:cubicBezTo>
                  <a:cubicBezTo>
                    <a:pt x="115" y="2"/>
                    <a:pt x="112" y="0"/>
                    <a:pt x="108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2" y="0"/>
                    <a:pt x="89" y="2"/>
                    <a:pt x="89" y="6"/>
                  </a:cubicBezTo>
                  <a:cubicBezTo>
                    <a:pt x="89" y="26"/>
                    <a:pt x="89" y="26"/>
                    <a:pt x="89" y="26"/>
                  </a:cubicBezTo>
                  <a:cubicBezTo>
                    <a:pt x="78" y="28"/>
                    <a:pt x="67" y="33"/>
                    <a:pt x="58" y="39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1" y="23"/>
                    <a:pt x="37" y="23"/>
                    <a:pt x="34" y="25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3" y="37"/>
                    <a:pt x="23" y="41"/>
                    <a:pt x="25" y="43"/>
                  </a:cubicBezTo>
                  <a:cubicBezTo>
                    <a:pt x="39" y="58"/>
                    <a:pt x="39" y="58"/>
                    <a:pt x="39" y="58"/>
                  </a:cubicBezTo>
                  <a:cubicBezTo>
                    <a:pt x="33" y="67"/>
                    <a:pt x="28" y="78"/>
                    <a:pt x="26" y="89"/>
                  </a:cubicBezTo>
                  <a:cubicBezTo>
                    <a:pt x="6" y="89"/>
                    <a:pt x="6" y="89"/>
                    <a:pt x="6" y="89"/>
                  </a:cubicBezTo>
                  <a:cubicBezTo>
                    <a:pt x="2" y="89"/>
                    <a:pt x="0" y="92"/>
                    <a:pt x="0" y="96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112"/>
                    <a:pt x="2" y="115"/>
                    <a:pt x="6" y="115"/>
                  </a:cubicBezTo>
                  <a:cubicBezTo>
                    <a:pt x="26" y="115"/>
                    <a:pt x="26" y="115"/>
                    <a:pt x="26" y="115"/>
                  </a:cubicBezTo>
                  <a:cubicBezTo>
                    <a:pt x="28" y="126"/>
                    <a:pt x="33" y="137"/>
                    <a:pt x="39" y="146"/>
                  </a:cubicBezTo>
                  <a:cubicBezTo>
                    <a:pt x="25" y="161"/>
                    <a:pt x="25" y="161"/>
                    <a:pt x="25" y="161"/>
                  </a:cubicBezTo>
                  <a:cubicBezTo>
                    <a:pt x="23" y="163"/>
                    <a:pt x="23" y="167"/>
                    <a:pt x="25" y="170"/>
                  </a:cubicBezTo>
                  <a:cubicBezTo>
                    <a:pt x="34" y="179"/>
                    <a:pt x="34" y="179"/>
                    <a:pt x="34" y="179"/>
                  </a:cubicBezTo>
                  <a:cubicBezTo>
                    <a:pt x="37" y="181"/>
                    <a:pt x="41" y="181"/>
                    <a:pt x="43" y="179"/>
                  </a:cubicBezTo>
                  <a:cubicBezTo>
                    <a:pt x="58" y="165"/>
                    <a:pt x="58" y="165"/>
                    <a:pt x="58" y="165"/>
                  </a:cubicBezTo>
                  <a:cubicBezTo>
                    <a:pt x="67" y="171"/>
                    <a:pt x="78" y="176"/>
                    <a:pt x="89" y="178"/>
                  </a:cubicBezTo>
                  <a:cubicBezTo>
                    <a:pt x="89" y="198"/>
                    <a:pt x="89" y="198"/>
                    <a:pt x="89" y="198"/>
                  </a:cubicBezTo>
                  <a:cubicBezTo>
                    <a:pt x="89" y="202"/>
                    <a:pt x="92" y="204"/>
                    <a:pt x="96" y="204"/>
                  </a:cubicBezTo>
                  <a:cubicBezTo>
                    <a:pt x="108" y="204"/>
                    <a:pt x="108" y="204"/>
                    <a:pt x="108" y="204"/>
                  </a:cubicBezTo>
                  <a:cubicBezTo>
                    <a:pt x="112" y="204"/>
                    <a:pt x="115" y="202"/>
                    <a:pt x="115" y="198"/>
                  </a:cubicBezTo>
                  <a:cubicBezTo>
                    <a:pt x="115" y="178"/>
                    <a:pt x="115" y="178"/>
                    <a:pt x="115" y="178"/>
                  </a:cubicBezTo>
                  <a:cubicBezTo>
                    <a:pt x="126" y="176"/>
                    <a:pt x="137" y="171"/>
                    <a:pt x="146" y="165"/>
                  </a:cubicBezTo>
                  <a:cubicBezTo>
                    <a:pt x="161" y="179"/>
                    <a:pt x="161" y="179"/>
                    <a:pt x="161" y="179"/>
                  </a:cubicBezTo>
                  <a:cubicBezTo>
                    <a:pt x="163" y="181"/>
                    <a:pt x="167" y="181"/>
                    <a:pt x="170" y="179"/>
                  </a:cubicBezTo>
                  <a:cubicBezTo>
                    <a:pt x="179" y="170"/>
                    <a:pt x="179" y="170"/>
                    <a:pt x="179" y="170"/>
                  </a:cubicBezTo>
                  <a:cubicBezTo>
                    <a:pt x="181" y="167"/>
                    <a:pt x="181" y="163"/>
                    <a:pt x="179" y="161"/>
                  </a:cubicBezTo>
                  <a:cubicBezTo>
                    <a:pt x="165" y="146"/>
                    <a:pt x="165" y="146"/>
                    <a:pt x="165" y="146"/>
                  </a:cubicBezTo>
                  <a:cubicBezTo>
                    <a:pt x="171" y="137"/>
                    <a:pt x="176" y="126"/>
                    <a:pt x="178" y="115"/>
                  </a:cubicBezTo>
                  <a:cubicBezTo>
                    <a:pt x="198" y="115"/>
                    <a:pt x="198" y="115"/>
                    <a:pt x="198" y="115"/>
                  </a:cubicBezTo>
                  <a:cubicBezTo>
                    <a:pt x="202" y="115"/>
                    <a:pt x="204" y="112"/>
                    <a:pt x="204" y="108"/>
                  </a:cubicBezTo>
                  <a:cubicBezTo>
                    <a:pt x="204" y="96"/>
                    <a:pt x="204" y="96"/>
                    <a:pt x="204" y="96"/>
                  </a:cubicBezTo>
                  <a:cubicBezTo>
                    <a:pt x="204" y="92"/>
                    <a:pt x="202" y="89"/>
                    <a:pt x="198" y="89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1" name="Freeform 118">
              <a:extLst>
                <a:ext uri="{FF2B5EF4-FFF2-40B4-BE49-F238E27FC236}">
                  <a16:creationId xmlns:a16="http://schemas.microsoft.com/office/drawing/2014/main" id="{6811A871-FFCE-44F1-A3AF-7C8E10BBB571}"/>
                </a:ext>
              </a:extLst>
            </p:cNvPr>
            <p:cNvSpPr>
              <a:spLocks/>
            </p:cNvSpPr>
            <p:nvPr/>
          </p:nvSpPr>
          <p:spPr bwMode="auto">
            <a:xfrm>
              <a:off x="8624888" y="2216150"/>
              <a:ext cx="658812" cy="658813"/>
            </a:xfrm>
            <a:custGeom>
              <a:avLst/>
              <a:gdLst>
                <a:gd name="T0" fmla="*/ 161 w 174"/>
                <a:gd name="T1" fmla="*/ 25 h 174"/>
                <a:gd name="T2" fmla="*/ 146 w 174"/>
                <a:gd name="T3" fmla="*/ 39 h 174"/>
                <a:gd name="T4" fmla="*/ 115 w 174"/>
                <a:gd name="T5" fmla="*/ 26 h 174"/>
                <a:gd name="T6" fmla="*/ 115 w 174"/>
                <a:gd name="T7" fmla="*/ 6 h 174"/>
                <a:gd name="T8" fmla="*/ 108 w 174"/>
                <a:gd name="T9" fmla="*/ 0 h 174"/>
                <a:gd name="T10" fmla="*/ 96 w 174"/>
                <a:gd name="T11" fmla="*/ 0 h 174"/>
                <a:gd name="T12" fmla="*/ 89 w 174"/>
                <a:gd name="T13" fmla="*/ 6 h 174"/>
                <a:gd name="T14" fmla="*/ 89 w 174"/>
                <a:gd name="T15" fmla="*/ 26 h 174"/>
                <a:gd name="T16" fmla="*/ 58 w 174"/>
                <a:gd name="T17" fmla="*/ 39 h 174"/>
                <a:gd name="T18" fmla="*/ 43 w 174"/>
                <a:gd name="T19" fmla="*/ 25 h 174"/>
                <a:gd name="T20" fmla="*/ 34 w 174"/>
                <a:gd name="T21" fmla="*/ 25 h 174"/>
                <a:gd name="T22" fmla="*/ 25 w 174"/>
                <a:gd name="T23" fmla="*/ 34 h 174"/>
                <a:gd name="T24" fmla="*/ 25 w 174"/>
                <a:gd name="T25" fmla="*/ 43 h 174"/>
                <a:gd name="T26" fmla="*/ 39 w 174"/>
                <a:gd name="T27" fmla="*/ 58 h 174"/>
                <a:gd name="T28" fmla="*/ 26 w 174"/>
                <a:gd name="T29" fmla="*/ 89 h 174"/>
                <a:gd name="T30" fmla="*/ 6 w 174"/>
                <a:gd name="T31" fmla="*/ 89 h 174"/>
                <a:gd name="T32" fmla="*/ 0 w 174"/>
                <a:gd name="T33" fmla="*/ 96 h 174"/>
                <a:gd name="T34" fmla="*/ 0 w 174"/>
                <a:gd name="T35" fmla="*/ 108 h 174"/>
                <a:gd name="T36" fmla="*/ 6 w 174"/>
                <a:gd name="T37" fmla="*/ 115 h 174"/>
                <a:gd name="T38" fmla="*/ 26 w 174"/>
                <a:gd name="T39" fmla="*/ 115 h 174"/>
                <a:gd name="T40" fmla="*/ 39 w 174"/>
                <a:gd name="T41" fmla="*/ 146 h 174"/>
                <a:gd name="T42" fmla="*/ 25 w 174"/>
                <a:gd name="T43" fmla="*/ 161 h 174"/>
                <a:gd name="T44" fmla="*/ 25 w 174"/>
                <a:gd name="T45" fmla="*/ 170 h 174"/>
                <a:gd name="T46" fmla="*/ 30 w 174"/>
                <a:gd name="T47" fmla="*/ 174 h 174"/>
                <a:gd name="T48" fmla="*/ 61 w 174"/>
                <a:gd name="T49" fmla="*/ 143 h 174"/>
                <a:gd name="T50" fmla="*/ 44 w 174"/>
                <a:gd name="T51" fmla="*/ 102 h 174"/>
                <a:gd name="T52" fmla="*/ 102 w 174"/>
                <a:gd name="T53" fmla="*/ 44 h 174"/>
                <a:gd name="T54" fmla="*/ 143 w 174"/>
                <a:gd name="T55" fmla="*/ 61 h 174"/>
                <a:gd name="T56" fmla="*/ 174 w 174"/>
                <a:gd name="T57" fmla="*/ 29 h 174"/>
                <a:gd name="T58" fmla="*/ 170 w 174"/>
                <a:gd name="T59" fmla="*/ 25 h 174"/>
                <a:gd name="T60" fmla="*/ 161 w 174"/>
                <a:gd name="T61" fmla="*/ 25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74" h="174">
                  <a:moveTo>
                    <a:pt x="161" y="25"/>
                  </a:moveTo>
                  <a:cubicBezTo>
                    <a:pt x="146" y="39"/>
                    <a:pt x="146" y="39"/>
                    <a:pt x="146" y="39"/>
                  </a:cubicBezTo>
                  <a:cubicBezTo>
                    <a:pt x="137" y="33"/>
                    <a:pt x="126" y="28"/>
                    <a:pt x="115" y="26"/>
                  </a:cubicBezTo>
                  <a:cubicBezTo>
                    <a:pt x="115" y="6"/>
                    <a:pt x="115" y="6"/>
                    <a:pt x="115" y="6"/>
                  </a:cubicBezTo>
                  <a:cubicBezTo>
                    <a:pt x="115" y="2"/>
                    <a:pt x="112" y="0"/>
                    <a:pt x="108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2" y="0"/>
                    <a:pt x="89" y="2"/>
                    <a:pt x="89" y="6"/>
                  </a:cubicBezTo>
                  <a:cubicBezTo>
                    <a:pt x="89" y="26"/>
                    <a:pt x="89" y="26"/>
                    <a:pt x="89" y="26"/>
                  </a:cubicBezTo>
                  <a:cubicBezTo>
                    <a:pt x="78" y="28"/>
                    <a:pt x="67" y="33"/>
                    <a:pt x="58" y="39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1" y="23"/>
                    <a:pt x="37" y="23"/>
                    <a:pt x="34" y="25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3" y="37"/>
                    <a:pt x="23" y="41"/>
                    <a:pt x="25" y="43"/>
                  </a:cubicBezTo>
                  <a:cubicBezTo>
                    <a:pt x="39" y="58"/>
                    <a:pt x="39" y="58"/>
                    <a:pt x="39" y="58"/>
                  </a:cubicBezTo>
                  <a:cubicBezTo>
                    <a:pt x="33" y="67"/>
                    <a:pt x="28" y="78"/>
                    <a:pt x="26" y="89"/>
                  </a:cubicBezTo>
                  <a:cubicBezTo>
                    <a:pt x="6" y="89"/>
                    <a:pt x="6" y="89"/>
                    <a:pt x="6" y="89"/>
                  </a:cubicBezTo>
                  <a:cubicBezTo>
                    <a:pt x="2" y="89"/>
                    <a:pt x="0" y="92"/>
                    <a:pt x="0" y="96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112"/>
                    <a:pt x="2" y="115"/>
                    <a:pt x="6" y="115"/>
                  </a:cubicBezTo>
                  <a:cubicBezTo>
                    <a:pt x="26" y="115"/>
                    <a:pt x="26" y="115"/>
                    <a:pt x="26" y="115"/>
                  </a:cubicBezTo>
                  <a:cubicBezTo>
                    <a:pt x="28" y="126"/>
                    <a:pt x="33" y="137"/>
                    <a:pt x="39" y="146"/>
                  </a:cubicBezTo>
                  <a:cubicBezTo>
                    <a:pt x="25" y="161"/>
                    <a:pt x="25" y="161"/>
                    <a:pt x="25" y="161"/>
                  </a:cubicBezTo>
                  <a:cubicBezTo>
                    <a:pt x="23" y="163"/>
                    <a:pt x="23" y="167"/>
                    <a:pt x="25" y="170"/>
                  </a:cubicBezTo>
                  <a:cubicBezTo>
                    <a:pt x="30" y="174"/>
                    <a:pt x="30" y="174"/>
                    <a:pt x="30" y="174"/>
                  </a:cubicBezTo>
                  <a:cubicBezTo>
                    <a:pt x="61" y="143"/>
                    <a:pt x="61" y="143"/>
                    <a:pt x="61" y="143"/>
                  </a:cubicBezTo>
                  <a:cubicBezTo>
                    <a:pt x="51" y="132"/>
                    <a:pt x="44" y="118"/>
                    <a:pt x="44" y="102"/>
                  </a:cubicBezTo>
                  <a:cubicBezTo>
                    <a:pt x="44" y="71"/>
                    <a:pt x="70" y="44"/>
                    <a:pt x="102" y="44"/>
                  </a:cubicBezTo>
                  <a:cubicBezTo>
                    <a:pt x="118" y="44"/>
                    <a:pt x="132" y="51"/>
                    <a:pt x="143" y="61"/>
                  </a:cubicBezTo>
                  <a:cubicBezTo>
                    <a:pt x="174" y="29"/>
                    <a:pt x="174" y="29"/>
                    <a:pt x="174" y="29"/>
                  </a:cubicBezTo>
                  <a:cubicBezTo>
                    <a:pt x="170" y="25"/>
                    <a:pt x="170" y="25"/>
                    <a:pt x="170" y="25"/>
                  </a:cubicBezTo>
                  <a:cubicBezTo>
                    <a:pt x="167" y="23"/>
                    <a:pt x="163" y="23"/>
                    <a:pt x="161" y="2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2" name="Freeform 119">
              <a:extLst>
                <a:ext uri="{FF2B5EF4-FFF2-40B4-BE49-F238E27FC236}">
                  <a16:creationId xmlns:a16="http://schemas.microsoft.com/office/drawing/2014/main" id="{63B8E4B9-7F3A-4DE8-9723-E465DD188D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791575" y="2382838"/>
              <a:ext cx="439737" cy="439738"/>
            </a:xfrm>
            <a:custGeom>
              <a:avLst/>
              <a:gdLst>
                <a:gd name="T0" fmla="*/ 58 w 116"/>
                <a:gd name="T1" fmla="*/ 96 h 116"/>
                <a:gd name="T2" fmla="*/ 20 w 116"/>
                <a:gd name="T3" fmla="*/ 58 h 116"/>
                <a:gd name="T4" fmla="*/ 58 w 116"/>
                <a:gd name="T5" fmla="*/ 20 h 116"/>
                <a:gd name="T6" fmla="*/ 96 w 116"/>
                <a:gd name="T7" fmla="*/ 58 h 116"/>
                <a:gd name="T8" fmla="*/ 58 w 116"/>
                <a:gd name="T9" fmla="*/ 96 h 116"/>
                <a:gd name="T10" fmla="*/ 58 w 116"/>
                <a:gd name="T11" fmla="*/ 0 h 116"/>
                <a:gd name="T12" fmla="*/ 0 w 116"/>
                <a:gd name="T13" fmla="*/ 58 h 116"/>
                <a:gd name="T14" fmla="*/ 58 w 116"/>
                <a:gd name="T15" fmla="*/ 116 h 116"/>
                <a:gd name="T16" fmla="*/ 116 w 116"/>
                <a:gd name="T17" fmla="*/ 58 h 116"/>
                <a:gd name="T18" fmla="*/ 58 w 116"/>
                <a:gd name="T19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" h="116">
                  <a:moveTo>
                    <a:pt x="58" y="96"/>
                  </a:moveTo>
                  <a:cubicBezTo>
                    <a:pt x="37" y="96"/>
                    <a:pt x="20" y="79"/>
                    <a:pt x="20" y="58"/>
                  </a:cubicBezTo>
                  <a:cubicBezTo>
                    <a:pt x="20" y="37"/>
                    <a:pt x="37" y="20"/>
                    <a:pt x="58" y="20"/>
                  </a:cubicBezTo>
                  <a:cubicBezTo>
                    <a:pt x="79" y="20"/>
                    <a:pt x="96" y="37"/>
                    <a:pt x="96" y="58"/>
                  </a:cubicBezTo>
                  <a:cubicBezTo>
                    <a:pt x="96" y="79"/>
                    <a:pt x="79" y="96"/>
                    <a:pt x="58" y="96"/>
                  </a:cubicBezTo>
                  <a:close/>
                  <a:moveTo>
                    <a:pt x="58" y="0"/>
                  </a:moveTo>
                  <a:cubicBezTo>
                    <a:pt x="26" y="0"/>
                    <a:pt x="0" y="26"/>
                    <a:pt x="0" y="58"/>
                  </a:cubicBezTo>
                  <a:cubicBezTo>
                    <a:pt x="0" y="90"/>
                    <a:pt x="26" y="116"/>
                    <a:pt x="58" y="116"/>
                  </a:cubicBezTo>
                  <a:cubicBezTo>
                    <a:pt x="90" y="116"/>
                    <a:pt x="116" y="90"/>
                    <a:pt x="116" y="58"/>
                  </a:cubicBezTo>
                  <a:cubicBezTo>
                    <a:pt x="116" y="26"/>
                    <a:pt x="90" y="0"/>
                    <a:pt x="58" y="0"/>
                  </a:cubicBezTo>
                  <a:close/>
                </a:path>
              </a:pathLst>
            </a:custGeom>
            <a:solidFill>
              <a:srgbClr val="CFD3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3" name="Freeform 120">
              <a:extLst>
                <a:ext uri="{FF2B5EF4-FFF2-40B4-BE49-F238E27FC236}">
                  <a16:creationId xmlns:a16="http://schemas.microsoft.com/office/drawing/2014/main" id="{D80DCBB8-7FE3-4964-AC81-60B2C8EC7B5F}"/>
                </a:ext>
              </a:extLst>
            </p:cNvPr>
            <p:cNvSpPr>
              <a:spLocks/>
            </p:cNvSpPr>
            <p:nvPr/>
          </p:nvSpPr>
          <p:spPr bwMode="auto">
            <a:xfrm>
              <a:off x="8791575" y="2382838"/>
              <a:ext cx="374650" cy="374650"/>
            </a:xfrm>
            <a:custGeom>
              <a:avLst/>
              <a:gdLst>
                <a:gd name="T0" fmla="*/ 58 w 99"/>
                <a:gd name="T1" fmla="*/ 0 h 99"/>
                <a:gd name="T2" fmla="*/ 0 w 99"/>
                <a:gd name="T3" fmla="*/ 58 h 99"/>
                <a:gd name="T4" fmla="*/ 17 w 99"/>
                <a:gd name="T5" fmla="*/ 99 h 99"/>
                <a:gd name="T6" fmla="*/ 31 w 99"/>
                <a:gd name="T7" fmla="*/ 85 h 99"/>
                <a:gd name="T8" fmla="*/ 20 w 99"/>
                <a:gd name="T9" fmla="*/ 58 h 99"/>
                <a:gd name="T10" fmla="*/ 58 w 99"/>
                <a:gd name="T11" fmla="*/ 20 h 99"/>
                <a:gd name="T12" fmla="*/ 85 w 99"/>
                <a:gd name="T13" fmla="*/ 31 h 99"/>
                <a:gd name="T14" fmla="*/ 99 w 99"/>
                <a:gd name="T15" fmla="*/ 17 h 99"/>
                <a:gd name="T16" fmla="*/ 58 w 99"/>
                <a:gd name="T17" fmla="*/ 0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9" h="99">
                  <a:moveTo>
                    <a:pt x="58" y="0"/>
                  </a:moveTo>
                  <a:cubicBezTo>
                    <a:pt x="26" y="0"/>
                    <a:pt x="0" y="26"/>
                    <a:pt x="0" y="58"/>
                  </a:cubicBezTo>
                  <a:cubicBezTo>
                    <a:pt x="0" y="74"/>
                    <a:pt x="7" y="88"/>
                    <a:pt x="17" y="99"/>
                  </a:cubicBezTo>
                  <a:cubicBezTo>
                    <a:pt x="31" y="85"/>
                    <a:pt x="31" y="85"/>
                    <a:pt x="31" y="85"/>
                  </a:cubicBezTo>
                  <a:cubicBezTo>
                    <a:pt x="24" y="78"/>
                    <a:pt x="20" y="69"/>
                    <a:pt x="20" y="58"/>
                  </a:cubicBezTo>
                  <a:cubicBezTo>
                    <a:pt x="20" y="37"/>
                    <a:pt x="37" y="20"/>
                    <a:pt x="58" y="20"/>
                  </a:cubicBezTo>
                  <a:cubicBezTo>
                    <a:pt x="69" y="20"/>
                    <a:pt x="78" y="24"/>
                    <a:pt x="85" y="31"/>
                  </a:cubicBezTo>
                  <a:cubicBezTo>
                    <a:pt x="99" y="17"/>
                    <a:pt x="99" y="17"/>
                    <a:pt x="99" y="17"/>
                  </a:cubicBezTo>
                  <a:cubicBezTo>
                    <a:pt x="88" y="7"/>
                    <a:pt x="74" y="0"/>
                    <a:pt x="58" y="0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4" name="Freeform 121">
              <a:extLst>
                <a:ext uri="{FF2B5EF4-FFF2-40B4-BE49-F238E27FC236}">
                  <a16:creationId xmlns:a16="http://schemas.microsoft.com/office/drawing/2014/main" id="{FDAC3FB3-347D-4390-96C5-EB6BF70E453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67775" y="2459038"/>
              <a:ext cx="287337" cy="287338"/>
            </a:xfrm>
            <a:custGeom>
              <a:avLst/>
              <a:gdLst>
                <a:gd name="T0" fmla="*/ 38 w 76"/>
                <a:gd name="T1" fmla="*/ 64 h 76"/>
                <a:gd name="T2" fmla="*/ 12 w 76"/>
                <a:gd name="T3" fmla="*/ 38 h 76"/>
                <a:gd name="T4" fmla="*/ 38 w 76"/>
                <a:gd name="T5" fmla="*/ 12 h 76"/>
                <a:gd name="T6" fmla="*/ 64 w 76"/>
                <a:gd name="T7" fmla="*/ 38 h 76"/>
                <a:gd name="T8" fmla="*/ 38 w 76"/>
                <a:gd name="T9" fmla="*/ 64 h 76"/>
                <a:gd name="T10" fmla="*/ 38 w 76"/>
                <a:gd name="T11" fmla="*/ 0 h 76"/>
                <a:gd name="T12" fmla="*/ 0 w 76"/>
                <a:gd name="T13" fmla="*/ 38 h 76"/>
                <a:gd name="T14" fmla="*/ 38 w 76"/>
                <a:gd name="T15" fmla="*/ 76 h 76"/>
                <a:gd name="T16" fmla="*/ 76 w 76"/>
                <a:gd name="T17" fmla="*/ 38 h 76"/>
                <a:gd name="T18" fmla="*/ 38 w 76"/>
                <a:gd name="T19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6" h="76">
                  <a:moveTo>
                    <a:pt x="38" y="64"/>
                  </a:moveTo>
                  <a:cubicBezTo>
                    <a:pt x="24" y="64"/>
                    <a:pt x="12" y="52"/>
                    <a:pt x="12" y="38"/>
                  </a:cubicBezTo>
                  <a:cubicBezTo>
                    <a:pt x="12" y="24"/>
                    <a:pt x="24" y="12"/>
                    <a:pt x="38" y="12"/>
                  </a:cubicBezTo>
                  <a:cubicBezTo>
                    <a:pt x="52" y="12"/>
                    <a:pt x="64" y="24"/>
                    <a:pt x="64" y="38"/>
                  </a:cubicBezTo>
                  <a:cubicBezTo>
                    <a:pt x="64" y="52"/>
                    <a:pt x="52" y="64"/>
                    <a:pt x="38" y="64"/>
                  </a:cubicBezTo>
                  <a:close/>
                  <a:moveTo>
                    <a:pt x="38" y="0"/>
                  </a:moveTo>
                  <a:cubicBezTo>
                    <a:pt x="17" y="0"/>
                    <a:pt x="0" y="17"/>
                    <a:pt x="0" y="38"/>
                  </a:cubicBezTo>
                  <a:cubicBezTo>
                    <a:pt x="0" y="59"/>
                    <a:pt x="17" y="76"/>
                    <a:pt x="38" y="76"/>
                  </a:cubicBezTo>
                  <a:cubicBezTo>
                    <a:pt x="59" y="76"/>
                    <a:pt x="76" y="59"/>
                    <a:pt x="76" y="38"/>
                  </a:cubicBezTo>
                  <a:cubicBezTo>
                    <a:pt x="76" y="17"/>
                    <a:pt x="59" y="0"/>
                    <a:pt x="38" y="0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5" name="Freeform 122">
              <a:extLst>
                <a:ext uri="{FF2B5EF4-FFF2-40B4-BE49-F238E27FC236}">
                  <a16:creationId xmlns:a16="http://schemas.microsoft.com/office/drawing/2014/main" id="{AA745798-79F7-421C-A70C-0343FA96BE92}"/>
                </a:ext>
              </a:extLst>
            </p:cNvPr>
            <p:cNvSpPr>
              <a:spLocks/>
            </p:cNvSpPr>
            <p:nvPr/>
          </p:nvSpPr>
          <p:spPr bwMode="auto">
            <a:xfrm>
              <a:off x="8867775" y="2459038"/>
              <a:ext cx="246062" cy="246063"/>
            </a:xfrm>
            <a:custGeom>
              <a:avLst/>
              <a:gdLst>
                <a:gd name="T0" fmla="*/ 38 w 65"/>
                <a:gd name="T1" fmla="*/ 0 h 65"/>
                <a:gd name="T2" fmla="*/ 0 w 65"/>
                <a:gd name="T3" fmla="*/ 38 h 65"/>
                <a:gd name="T4" fmla="*/ 11 w 65"/>
                <a:gd name="T5" fmla="*/ 65 h 65"/>
                <a:gd name="T6" fmla="*/ 20 w 65"/>
                <a:gd name="T7" fmla="*/ 56 h 65"/>
                <a:gd name="T8" fmla="*/ 12 w 65"/>
                <a:gd name="T9" fmla="*/ 38 h 65"/>
                <a:gd name="T10" fmla="*/ 38 w 65"/>
                <a:gd name="T11" fmla="*/ 12 h 65"/>
                <a:gd name="T12" fmla="*/ 56 w 65"/>
                <a:gd name="T13" fmla="*/ 20 h 65"/>
                <a:gd name="T14" fmla="*/ 65 w 65"/>
                <a:gd name="T15" fmla="*/ 11 h 65"/>
                <a:gd name="T16" fmla="*/ 38 w 65"/>
                <a:gd name="T17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5" h="65">
                  <a:moveTo>
                    <a:pt x="38" y="0"/>
                  </a:moveTo>
                  <a:cubicBezTo>
                    <a:pt x="17" y="0"/>
                    <a:pt x="0" y="17"/>
                    <a:pt x="0" y="38"/>
                  </a:cubicBezTo>
                  <a:cubicBezTo>
                    <a:pt x="0" y="49"/>
                    <a:pt x="4" y="58"/>
                    <a:pt x="11" y="65"/>
                  </a:cubicBezTo>
                  <a:cubicBezTo>
                    <a:pt x="20" y="56"/>
                    <a:pt x="20" y="56"/>
                    <a:pt x="20" y="56"/>
                  </a:cubicBezTo>
                  <a:cubicBezTo>
                    <a:pt x="15" y="51"/>
                    <a:pt x="12" y="45"/>
                    <a:pt x="12" y="38"/>
                  </a:cubicBezTo>
                  <a:cubicBezTo>
                    <a:pt x="12" y="24"/>
                    <a:pt x="24" y="12"/>
                    <a:pt x="38" y="12"/>
                  </a:cubicBezTo>
                  <a:cubicBezTo>
                    <a:pt x="45" y="12"/>
                    <a:pt x="51" y="15"/>
                    <a:pt x="56" y="20"/>
                  </a:cubicBezTo>
                  <a:cubicBezTo>
                    <a:pt x="65" y="11"/>
                    <a:pt x="65" y="11"/>
                    <a:pt x="65" y="11"/>
                  </a:cubicBezTo>
                  <a:cubicBezTo>
                    <a:pt x="58" y="4"/>
                    <a:pt x="49" y="0"/>
                    <a:pt x="3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86" name="Title 1">
            <a:extLst>
              <a:ext uri="{FF2B5EF4-FFF2-40B4-BE49-F238E27FC236}">
                <a16:creationId xmlns:a16="http://schemas.microsoft.com/office/drawing/2014/main" id="{81C6A724-0FB4-4D8E-99FB-28A176D6CD9F}"/>
              </a:ext>
            </a:extLst>
          </p:cNvPr>
          <p:cNvSpPr txBox="1">
            <a:spLocks/>
          </p:cNvSpPr>
          <p:nvPr/>
        </p:nvSpPr>
        <p:spPr>
          <a:xfrm>
            <a:off x="6233973" y="3634740"/>
            <a:ext cx="1493671" cy="201758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  <a:spcAft>
                <a:spcPts val="1200"/>
              </a:spcAft>
            </a:pPr>
            <a:r>
              <a:rPr lang="en-US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hy are things slow?</a:t>
            </a:r>
          </a:p>
        </p:txBody>
      </p:sp>
      <p:sp>
        <p:nvSpPr>
          <p:cNvPr id="87" name="Title 1">
            <a:extLst>
              <a:ext uri="{FF2B5EF4-FFF2-40B4-BE49-F238E27FC236}">
                <a16:creationId xmlns:a16="http://schemas.microsoft.com/office/drawing/2014/main" id="{07DB6CF9-2821-494E-8A5D-14146280FE23}"/>
              </a:ext>
            </a:extLst>
          </p:cNvPr>
          <p:cNvSpPr txBox="1">
            <a:spLocks/>
          </p:cNvSpPr>
          <p:nvPr/>
        </p:nvSpPr>
        <p:spPr>
          <a:xfrm>
            <a:off x="8119750" y="3634740"/>
            <a:ext cx="1493671" cy="201758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  <a:spcAft>
                <a:spcPts val="1200"/>
              </a:spcAft>
            </a:pPr>
            <a:r>
              <a:rPr lang="en-US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an I speed things up?</a:t>
            </a:r>
          </a:p>
        </p:txBody>
      </p:sp>
      <p:sp>
        <p:nvSpPr>
          <p:cNvPr id="88" name="Title 1">
            <a:extLst>
              <a:ext uri="{FF2B5EF4-FFF2-40B4-BE49-F238E27FC236}">
                <a16:creationId xmlns:a16="http://schemas.microsoft.com/office/drawing/2014/main" id="{8DE727F1-8EF1-45DC-822E-56C2113332A5}"/>
              </a:ext>
            </a:extLst>
          </p:cNvPr>
          <p:cNvSpPr txBox="1">
            <a:spLocks/>
          </p:cNvSpPr>
          <p:nvPr/>
        </p:nvSpPr>
        <p:spPr>
          <a:xfrm>
            <a:off x="10005527" y="3634740"/>
            <a:ext cx="1493671" cy="201758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  <a:spcAft>
                <a:spcPts val="1200"/>
              </a:spcAft>
            </a:pPr>
            <a:r>
              <a:rPr lang="en-US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ow can I do that?</a:t>
            </a:r>
          </a:p>
        </p:txBody>
      </p:sp>
      <p:sp>
        <p:nvSpPr>
          <p:cNvPr id="89" name="Freeform 46">
            <a:extLst>
              <a:ext uri="{FF2B5EF4-FFF2-40B4-BE49-F238E27FC236}">
                <a16:creationId xmlns:a16="http://schemas.microsoft.com/office/drawing/2014/main" id="{2B479856-F765-422E-A616-FADA65D982D6}"/>
              </a:ext>
            </a:extLst>
          </p:cNvPr>
          <p:cNvSpPr/>
          <p:nvPr/>
        </p:nvSpPr>
        <p:spPr>
          <a:xfrm>
            <a:off x="6438460" y="5780750"/>
            <a:ext cx="1084697" cy="80948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90" name="Freeform 46">
            <a:extLst>
              <a:ext uri="{FF2B5EF4-FFF2-40B4-BE49-F238E27FC236}">
                <a16:creationId xmlns:a16="http://schemas.microsoft.com/office/drawing/2014/main" id="{9EB3B54E-4E49-4BE4-AB11-6C98799D2A2D}"/>
              </a:ext>
            </a:extLst>
          </p:cNvPr>
          <p:cNvSpPr/>
          <p:nvPr/>
        </p:nvSpPr>
        <p:spPr>
          <a:xfrm>
            <a:off x="8324237" y="5780750"/>
            <a:ext cx="1084697" cy="80948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91" name="Freeform 46">
            <a:extLst>
              <a:ext uri="{FF2B5EF4-FFF2-40B4-BE49-F238E27FC236}">
                <a16:creationId xmlns:a16="http://schemas.microsoft.com/office/drawing/2014/main" id="{4A9A4972-D060-43D5-9967-ECB37C1C446D}"/>
              </a:ext>
            </a:extLst>
          </p:cNvPr>
          <p:cNvSpPr/>
          <p:nvPr/>
        </p:nvSpPr>
        <p:spPr>
          <a:xfrm>
            <a:off x="10210014" y="5780750"/>
            <a:ext cx="1084697" cy="80948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93" name="任意多边形: 形状 16">
            <a:extLst>
              <a:ext uri="{FF2B5EF4-FFF2-40B4-BE49-F238E27FC236}">
                <a16:creationId xmlns:a16="http://schemas.microsoft.com/office/drawing/2014/main" id="{D77BCD6D-3CA3-4FBA-AE6F-8FFE7AB82299}"/>
              </a:ext>
            </a:extLst>
          </p:cNvPr>
          <p:cNvSpPr/>
          <p:nvPr/>
        </p:nvSpPr>
        <p:spPr>
          <a:xfrm>
            <a:off x="0" y="646291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4" name="任意多边形: 形状 16">
            <a:extLst>
              <a:ext uri="{FF2B5EF4-FFF2-40B4-BE49-F238E27FC236}">
                <a16:creationId xmlns:a16="http://schemas.microsoft.com/office/drawing/2014/main" id="{DB50D6CE-7287-442B-B6AF-EAFB69B0C72D}"/>
              </a:ext>
            </a:extLst>
          </p:cNvPr>
          <p:cNvSpPr/>
          <p:nvPr/>
        </p:nvSpPr>
        <p:spPr>
          <a:xfrm>
            <a:off x="2724150" y="646291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5" name="任意多边形: 形状 16">
            <a:extLst>
              <a:ext uri="{FF2B5EF4-FFF2-40B4-BE49-F238E27FC236}">
                <a16:creationId xmlns:a16="http://schemas.microsoft.com/office/drawing/2014/main" id="{DA15B47E-2C18-48FE-8019-64213F8B312A}"/>
              </a:ext>
            </a:extLst>
          </p:cNvPr>
          <p:cNvSpPr/>
          <p:nvPr/>
        </p:nvSpPr>
        <p:spPr>
          <a:xfrm>
            <a:off x="5467350" y="646291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6" name="任意多边形: 形状 16">
            <a:extLst>
              <a:ext uri="{FF2B5EF4-FFF2-40B4-BE49-F238E27FC236}">
                <a16:creationId xmlns:a16="http://schemas.microsoft.com/office/drawing/2014/main" id="{26E91692-B844-4275-9982-FDA757730759}"/>
              </a:ext>
            </a:extLst>
          </p:cNvPr>
          <p:cNvSpPr/>
          <p:nvPr/>
        </p:nvSpPr>
        <p:spPr>
          <a:xfrm>
            <a:off x="8172450" y="646291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9" name="Freeform: Shape 98">
            <a:extLst>
              <a:ext uri="{FF2B5EF4-FFF2-40B4-BE49-F238E27FC236}">
                <a16:creationId xmlns:a16="http://schemas.microsoft.com/office/drawing/2014/main" id="{A5629178-9537-4CD9-B8A6-5A072269BDD9}"/>
              </a:ext>
            </a:extLst>
          </p:cNvPr>
          <p:cNvSpPr/>
          <p:nvPr/>
        </p:nvSpPr>
        <p:spPr>
          <a:xfrm>
            <a:off x="10915650" y="6462914"/>
            <a:ext cx="1276350" cy="464457"/>
          </a:xfrm>
          <a:custGeom>
            <a:avLst/>
            <a:gdLst>
              <a:gd name="connsiteX0" fmla="*/ 97047 w 1276350"/>
              <a:gd name="connsiteY0" fmla="*/ 0 h 464457"/>
              <a:gd name="connsiteX1" fmla="*/ 358828 w 1276350"/>
              <a:gd name="connsiteY1" fmla="*/ 0 h 464457"/>
              <a:gd name="connsiteX2" fmla="*/ 358828 w 1276350"/>
              <a:gd name="connsiteY2" fmla="*/ 111250 h 464457"/>
              <a:gd name="connsiteX3" fmla="*/ 554462 w 1276350"/>
              <a:gd name="connsiteY3" fmla="*/ 111250 h 464457"/>
              <a:gd name="connsiteX4" fmla="*/ 554462 w 1276350"/>
              <a:gd name="connsiteY4" fmla="*/ 0 h 464457"/>
              <a:gd name="connsiteX5" fmla="*/ 816244 w 1276350"/>
              <a:gd name="connsiteY5" fmla="*/ 0 h 464457"/>
              <a:gd name="connsiteX6" fmla="*/ 816244 w 1276350"/>
              <a:gd name="connsiteY6" fmla="*/ 111250 h 464457"/>
              <a:gd name="connsiteX7" fmla="*/ 1011878 w 1276350"/>
              <a:gd name="connsiteY7" fmla="*/ 111250 h 464457"/>
              <a:gd name="connsiteX8" fmla="*/ 1011878 w 1276350"/>
              <a:gd name="connsiteY8" fmla="*/ 0 h 464457"/>
              <a:gd name="connsiteX9" fmla="*/ 1273659 w 1276350"/>
              <a:gd name="connsiteY9" fmla="*/ 0 h 464457"/>
              <a:gd name="connsiteX10" fmla="*/ 1273659 w 1276350"/>
              <a:gd name="connsiteY10" fmla="*/ 111250 h 464457"/>
              <a:gd name="connsiteX11" fmla="*/ 1276350 w 1276350"/>
              <a:gd name="connsiteY11" fmla="*/ 111250 h 464457"/>
              <a:gd name="connsiteX12" fmla="*/ 1276350 w 1276350"/>
              <a:gd name="connsiteY12" fmla="*/ 464457 h 464457"/>
              <a:gd name="connsiteX13" fmla="*/ 0 w 1276350"/>
              <a:gd name="connsiteY13" fmla="*/ 464457 h 464457"/>
              <a:gd name="connsiteX14" fmla="*/ 0 w 1276350"/>
              <a:gd name="connsiteY14" fmla="*/ 111250 h 464457"/>
              <a:gd name="connsiteX15" fmla="*/ 97047 w 1276350"/>
              <a:gd name="connsiteY15" fmla="*/ 111250 h 4644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76350" h="464457">
                <a:moveTo>
                  <a:pt x="97047" y="0"/>
                </a:moveTo>
                <a:lnTo>
                  <a:pt x="358828" y="0"/>
                </a:lnTo>
                <a:lnTo>
                  <a:pt x="358828" y="111250"/>
                </a:lnTo>
                <a:lnTo>
                  <a:pt x="554462" y="111250"/>
                </a:lnTo>
                <a:lnTo>
                  <a:pt x="554462" y="0"/>
                </a:lnTo>
                <a:lnTo>
                  <a:pt x="816244" y="0"/>
                </a:lnTo>
                <a:lnTo>
                  <a:pt x="816244" y="111250"/>
                </a:lnTo>
                <a:lnTo>
                  <a:pt x="1011878" y="111250"/>
                </a:lnTo>
                <a:lnTo>
                  <a:pt x="1011878" y="0"/>
                </a:lnTo>
                <a:lnTo>
                  <a:pt x="1273659" y="0"/>
                </a:lnTo>
                <a:lnTo>
                  <a:pt x="1273659" y="111250"/>
                </a:lnTo>
                <a:lnTo>
                  <a:pt x="1276350" y="111250"/>
                </a:lnTo>
                <a:lnTo>
                  <a:pt x="1276350" y="464457"/>
                </a:lnTo>
                <a:lnTo>
                  <a:pt x="0" y="464457"/>
                </a:lnTo>
                <a:lnTo>
                  <a:pt x="0" y="111250"/>
                </a:lnTo>
                <a:lnTo>
                  <a:pt x="97047" y="111250"/>
                </a:ln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0420AC76-9596-4B0C-A95B-0353EDD00DFC}"/>
              </a:ext>
            </a:extLst>
          </p:cNvPr>
          <p:cNvSpPr/>
          <p:nvPr/>
        </p:nvSpPr>
        <p:spPr>
          <a:xfrm>
            <a:off x="11239954" y="6519862"/>
            <a:ext cx="444500" cy="338137"/>
          </a:xfrm>
          <a:prstGeom prst="rect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1" name="Oval 100">
            <a:extLst>
              <a:ext uri="{FF2B5EF4-FFF2-40B4-BE49-F238E27FC236}">
                <a16:creationId xmlns:a16="http://schemas.microsoft.com/office/drawing/2014/main" id="{0B6C789B-4CA8-45C4-BEF9-5DE898D5025A}"/>
              </a:ext>
            </a:extLst>
          </p:cNvPr>
          <p:cNvSpPr/>
          <p:nvPr/>
        </p:nvSpPr>
        <p:spPr>
          <a:xfrm>
            <a:off x="11239954" y="6316662"/>
            <a:ext cx="444500" cy="444500"/>
          </a:xfrm>
          <a:prstGeom prst="ellipse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2" name="Slide Number Placeholder 5">
            <a:extLst>
              <a:ext uri="{FF2B5EF4-FFF2-40B4-BE49-F238E27FC236}">
                <a16:creationId xmlns:a16="http://schemas.microsoft.com/office/drawing/2014/main" id="{C2E5CD9A-ACDF-417B-8034-6B5F025E2D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6650" y="6356350"/>
            <a:ext cx="331108" cy="365125"/>
          </a:xfrm>
        </p:spPr>
        <p:txBody>
          <a:bodyPr lIns="0" tIns="0" rIns="0" bIns="0"/>
          <a:lstStyle>
            <a:lvl1pPr algn="ctr">
              <a:defRPr sz="900" b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8D05A9CD-9176-4D89-A414-3BEEE81BBC77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C1F40D5-E6CC-4118-85E2-3EAE57C8C5D7}"/>
              </a:ext>
            </a:extLst>
          </p:cNvPr>
          <p:cNvSpPr/>
          <p:nvPr/>
        </p:nvSpPr>
        <p:spPr>
          <a:xfrm>
            <a:off x="3988196" y="4752553"/>
            <a:ext cx="1068670" cy="1068670"/>
          </a:xfrm>
          <a:prstGeom prst="ellipse">
            <a:avLst/>
          </a:prstGeom>
          <a:solidFill>
            <a:srgbClr val="D010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307853B2-446C-40B9-B03E-4A9CBA9599EB}"/>
              </a:ext>
            </a:extLst>
          </p:cNvPr>
          <p:cNvGrpSpPr/>
          <p:nvPr/>
        </p:nvGrpSpPr>
        <p:grpSpPr>
          <a:xfrm>
            <a:off x="4256556" y="4997059"/>
            <a:ext cx="531950" cy="579659"/>
            <a:chOff x="9742488" y="639763"/>
            <a:chExt cx="708025" cy="771526"/>
          </a:xfrm>
          <a:effectLst>
            <a:outerShdw dist="381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15" name="Freeform 59">
              <a:extLst>
                <a:ext uri="{FF2B5EF4-FFF2-40B4-BE49-F238E27FC236}">
                  <a16:creationId xmlns:a16="http://schemas.microsoft.com/office/drawing/2014/main" id="{C543AA61-3247-4354-BE7F-75CB28D58BD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74288" y="1123951"/>
              <a:ext cx="276225" cy="287338"/>
            </a:xfrm>
            <a:custGeom>
              <a:avLst/>
              <a:gdLst>
                <a:gd name="T0" fmla="*/ 72 w 73"/>
                <a:gd name="T1" fmla="*/ 41 h 76"/>
                <a:gd name="T2" fmla="*/ 44 w 73"/>
                <a:gd name="T3" fmla="*/ 0 h 76"/>
                <a:gd name="T4" fmla="*/ 42 w 73"/>
                <a:gd name="T5" fmla="*/ 2 h 76"/>
                <a:gd name="T6" fmla="*/ 42 w 73"/>
                <a:gd name="T7" fmla="*/ 23 h 76"/>
                <a:gd name="T8" fmla="*/ 21 w 73"/>
                <a:gd name="T9" fmla="*/ 23 h 76"/>
                <a:gd name="T10" fmla="*/ 13 w 73"/>
                <a:gd name="T11" fmla="*/ 42 h 76"/>
                <a:gd name="T12" fmla="*/ 0 w 73"/>
                <a:gd name="T13" fmla="*/ 36 h 76"/>
                <a:gd name="T14" fmla="*/ 25 w 73"/>
                <a:gd name="T15" fmla="*/ 73 h 76"/>
                <a:gd name="T16" fmla="*/ 30 w 73"/>
                <a:gd name="T17" fmla="*/ 75 h 76"/>
                <a:gd name="T18" fmla="*/ 35 w 73"/>
                <a:gd name="T19" fmla="*/ 71 h 76"/>
                <a:gd name="T20" fmla="*/ 41 w 73"/>
                <a:gd name="T21" fmla="*/ 52 h 76"/>
                <a:gd name="T22" fmla="*/ 47 w 73"/>
                <a:gd name="T23" fmla="*/ 48 h 76"/>
                <a:gd name="T24" fmla="*/ 67 w 73"/>
                <a:gd name="T25" fmla="*/ 50 h 76"/>
                <a:gd name="T26" fmla="*/ 72 w 73"/>
                <a:gd name="T27" fmla="*/ 47 h 76"/>
                <a:gd name="T28" fmla="*/ 72 w 73"/>
                <a:gd name="T29" fmla="*/ 41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3" h="76">
                  <a:moveTo>
                    <a:pt x="72" y="41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43" y="1"/>
                    <a:pt x="43" y="1"/>
                    <a:pt x="42" y="2"/>
                  </a:cubicBezTo>
                  <a:cubicBezTo>
                    <a:pt x="39" y="7"/>
                    <a:pt x="46" y="19"/>
                    <a:pt x="42" y="23"/>
                  </a:cubicBezTo>
                  <a:cubicBezTo>
                    <a:pt x="38" y="27"/>
                    <a:pt x="26" y="20"/>
                    <a:pt x="21" y="23"/>
                  </a:cubicBezTo>
                  <a:cubicBezTo>
                    <a:pt x="17" y="26"/>
                    <a:pt x="18" y="40"/>
                    <a:pt x="13" y="42"/>
                  </a:cubicBezTo>
                  <a:cubicBezTo>
                    <a:pt x="10" y="43"/>
                    <a:pt x="5" y="39"/>
                    <a:pt x="0" y="36"/>
                  </a:cubicBezTo>
                  <a:cubicBezTo>
                    <a:pt x="25" y="73"/>
                    <a:pt x="25" y="73"/>
                    <a:pt x="25" y="73"/>
                  </a:cubicBezTo>
                  <a:cubicBezTo>
                    <a:pt x="26" y="75"/>
                    <a:pt x="28" y="76"/>
                    <a:pt x="30" y="75"/>
                  </a:cubicBezTo>
                  <a:cubicBezTo>
                    <a:pt x="32" y="75"/>
                    <a:pt x="34" y="73"/>
                    <a:pt x="35" y="71"/>
                  </a:cubicBezTo>
                  <a:cubicBezTo>
                    <a:pt x="41" y="52"/>
                    <a:pt x="41" y="52"/>
                    <a:pt x="41" y="52"/>
                  </a:cubicBezTo>
                  <a:cubicBezTo>
                    <a:pt x="42" y="50"/>
                    <a:pt x="44" y="48"/>
                    <a:pt x="47" y="48"/>
                  </a:cubicBezTo>
                  <a:cubicBezTo>
                    <a:pt x="67" y="50"/>
                    <a:pt x="67" y="50"/>
                    <a:pt x="67" y="50"/>
                  </a:cubicBezTo>
                  <a:cubicBezTo>
                    <a:pt x="69" y="50"/>
                    <a:pt x="71" y="49"/>
                    <a:pt x="72" y="47"/>
                  </a:cubicBezTo>
                  <a:cubicBezTo>
                    <a:pt x="73" y="45"/>
                    <a:pt x="73" y="43"/>
                    <a:pt x="72" y="41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6" name="Freeform 60">
              <a:extLst>
                <a:ext uri="{FF2B5EF4-FFF2-40B4-BE49-F238E27FC236}">
                  <a16:creationId xmlns:a16="http://schemas.microsoft.com/office/drawing/2014/main" id="{C289FE05-8598-4B90-AA3C-D1660CABA300}"/>
                </a:ext>
              </a:extLst>
            </p:cNvPr>
            <p:cNvSpPr>
              <a:spLocks/>
            </p:cNvSpPr>
            <p:nvPr/>
          </p:nvSpPr>
          <p:spPr bwMode="auto">
            <a:xfrm>
              <a:off x="9742488" y="1123951"/>
              <a:ext cx="276225" cy="287338"/>
            </a:xfrm>
            <a:custGeom>
              <a:avLst/>
              <a:gdLst>
                <a:gd name="T0" fmla="*/ 60 w 73"/>
                <a:gd name="T1" fmla="*/ 42 h 76"/>
                <a:gd name="T2" fmla="*/ 52 w 73"/>
                <a:gd name="T3" fmla="*/ 23 h 76"/>
                <a:gd name="T4" fmla="*/ 31 w 73"/>
                <a:gd name="T5" fmla="*/ 23 h 76"/>
                <a:gd name="T6" fmla="*/ 31 w 73"/>
                <a:gd name="T7" fmla="*/ 2 h 76"/>
                <a:gd name="T8" fmla="*/ 28 w 73"/>
                <a:gd name="T9" fmla="*/ 0 h 76"/>
                <a:gd name="T10" fmla="*/ 1 w 73"/>
                <a:gd name="T11" fmla="*/ 41 h 76"/>
                <a:gd name="T12" fmla="*/ 1 w 73"/>
                <a:gd name="T13" fmla="*/ 47 h 76"/>
                <a:gd name="T14" fmla="*/ 6 w 73"/>
                <a:gd name="T15" fmla="*/ 50 h 76"/>
                <a:gd name="T16" fmla="*/ 26 w 73"/>
                <a:gd name="T17" fmla="*/ 48 h 76"/>
                <a:gd name="T18" fmla="*/ 32 w 73"/>
                <a:gd name="T19" fmla="*/ 52 h 76"/>
                <a:gd name="T20" fmla="*/ 38 w 73"/>
                <a:gd name="T21" fmla="*/ 71 h 76"/>
                <a:gd name="T22" fmla="*/ 43 w 73"/>
                <a:gd name="T23" fmla="*/ 75 h 76"/>
                <a:gd name="T24" fmla="*/ 48 w 73"/>
                <a:gd name="T25" fmla="*/ 73 h 76"/>
                <a:gd name="T26" fmla="*/ 73 w 73"/>
                <a:gd name="T27" fmla="*/ 36 h 76"/>
                <a:gd name="T28" fmla="*/ 60 w 73"/>
                <a:gd name="T29" fmla="*/ 42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3" h="76">
                  <a:moveTo>
                    <a:pt x="60" y="42"/>
                  </a:moveTo>
                  <a:cubicBezTo>
                    <a:pt x="55" y="40"/>
                    <a:pt x="56" y="26"/>
                    <a:pt x="52" y="23"/>
                  </a:cubicBezTo>
                  <a:cubicBezTo>
                    <a:pt x="47" y="20"/>
                    <a:pt x="35" y="27"/>
                    <a:pt x="31" y="23"/>
                  </a:cubicBezTo>
                  <a:cubicBezTo>
                    <a:pt x="27" y="19"/>
                    <a:pt x="34" y="7"/>
                    <a:pt x="31" y="2"/>
                  </a:cubicBezTo>
                  <a:cubicBezTo>
                    <a:pt x="30" y="2"/>
                    <a:pt x="29" y="1"/>
                    <a:pt x="28" y="0"/>
                  </a:cubicBezTo>
                  <a:cubicBezTo>
                    <a:pt x="1" y="41"/>
                    <a:pt x="1" y="41"/>
                    <a:pt x="1" y="41"/>
                  </a:cubicBezTo>
                  <a:cubicBezTo>
                    <a:pt x="0" y="43"/>
                    <a:pt x="0" y="45"/>
                    <a:pt x="1" y="47"/>
                  </a:cubicBezTo>
                  <a:cubicBezTo>
                    <a:pt x="2" y="49"/>
                    <a:pt x="4" y="50"/>
                    <a:pt x="6" y="50"/>
                  </a:cubicBezTo>
                  <a:cubicBezTo>
                    <a:pt x="26" y="48"/>
                    <a:pt x="26" y="48"/>
                    <a:pt x="26" y="48"/>
                  </a:cubicBezTo>
                  <a:cubicBezTo>
                    <a:pt x="29" y="48"/>
                    <a:pt x="31" y="50"/>
                    <a:pt x="32" y="52"/>
                  </a:cubicBezTo>
                  <a:cubicBezTo>
                    <a:pt x="38" y="71"/>
                    <a:pt x="38" y="71"/>
                    <a:pt x="38" y="71"/>
                  </a:cubicBezTo>
                  <a:cubicBezTo>
                    <a:pt x="39" y="73"/>
                    <a:pt x="41" y="75"/>
                    <a:pt x="43" y="75"/>
                  </a:cubicBezTo>
                  <a:cubicBezTo>
                    <a:pt x="45" y="76"/>
                    <a:pt x="47" y="75"/>
                    <a:pt x="48" y="73"/>
                  </a:cubicBezTo>
                  <a:cubicBezTo>
                    <a:pt x="73" y="36"/>
                    <a:pt x="73" y="36"/>
                    <a:pt x="73" y="36"/>
                  </a:cubicBezTo>
                  <a:cubicBezTo>
                    <a:pt x="68" y="39"/>
                    <a:pt x="63" y="44"/>
                    <a:pt x="60" y="42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" name="Freeform 61">
              <a:extLst>
                <a:ext uri="{FF2B5EF4-FFF2-40B4-BE49-F238E27FC236}">
                  <a16:creationId xmlns:a16="http://schemas.microsoft.com/office/drawing/2014/main" id="{BC067E77-8A08-4F4D-B0A3-8E980041BB48}"/>
                </a:ext>
              </a:extLst>
            </p:cNvPr>
            <p:cNvSpPr>
              <a:spLocks/>
            </p:cNvSpPr>
            <p:nvPr/>
          </p:nvSpPr>
          <p:spPr bwMode="auto">
            <a:xfrm>
              <a:off x="9761538" y="639763"/>
              <a:ext cx="669925" cy="669925"/>
            </a:xfrm>
            <a:custGeom>
              <a:avLst/>
              <a:gdLst>
                <a:gd name="T0" fmla="*/ 177 w 177"/>
                <a:gd name="T1" fmla="*/ 88 h 177"/>
                <a:gd name="T2" fmla="*/ 162 w 177"/>
                <a:gd name="T3" fmla="*/ 103 h 177"/>
                <a:gd name="T4" fmla="*/ 170 w 177"/>
                <a:gd name="T5" fmla="*/ 122 h 177"/>
                <a:gd name="T6" fmla="*/ 151 w 177"/>
                <a:gd name="T7" fmla="*/ 130 h 177"/>
                <a:gd name="T8" fmla="*/ 151 w 177"/>
                <a:gd name="T9" fmla="*/ 151 h 177"/>
                <a:gd name="T10" fmla="*/ 130 w 177"/>
                <a:gd name="T11" fmla="*/ 151 h 177"/>
                <a:gd name="T12" fmla="*/ 122 w 177"/>
                <a:gd name="T13" fmla="*/ 170 h 177"/>
                <a:gd name="T14" fmla="*/ 103 w 177"/>
                <a:gd name="T15" fmla="*/ 162 h 177"/>
                <a:gd name="T16" fmla="*/ 88 w 177"/>
                <a:gd name="T17" fmla="*/ 177 h 177"/>
                <a:gd name="T18" fmla="*/ 74 w 177"/>
                <a:gd name="T19" fmla="*/ 162 h 177"/>
                <a:gd name="T20" fmla="*/ 55 w 177"/>
                <a:gd name="T21" fmla="*/ 170 h 177"/>
                <a:gd name="T22" fmla="*/ 47 w 177"/>
                <a:gd name="T23" fmla="*/ 151 h 177"/>
                <a:gd name="T24" fmla="*/ 26 w 177"/>
                <a:gd name="T25" fmla="*/ 151 h 177"/>
                <a:gd name="T26" fmla="*/ 26 w 177"/>
                <a:gd name="T27" fmla="*/ 130 h 177"/>
                <a:gd name="T28" fmla="*/ 7 w 177"/>
                <a:gd name="T29" fmla="*/ 122 h 177"/>
                <a:gd name="T30" fmla="*/ 15 w 177"/>
                <a:gd name="T31" fmla="*/ 103 h 177"/>
                <a:gd name="T32" fmla="*/ 0 w 177"/>
                <a:gd name="T33" fmla="*/ 88 h 177"/>
                <a:gd name="T34" fmla="*/ 15 w 177"/>
                <a:gd name="T35" fmla="*/ 74 h 177"/>
                <a:gd name="T36" fmla="*/ 7 w 177"/>
                <a:gd name="T37" fmla="*/ 55 h 177"/>
                <a:gd name="T38" fmla="*/ 26 w 177"/>
                <a:gd name="T39" fmla="*/ 47 h 177"/>
                <a:gd name="T40" fmla="*/ 26 w 177"/>
                <a:gd name="T41" fmla="*/ 26 h 177"/>
                <a:gd name="T42" fmla="*/ 47 w 177"/>
                <a:gd name="T43" fmla="*/ 26 h 177"/>
                <a:gd name="T44" fmla="*/ 55 w 177"/>
                <a:gd name="T45" fmla="*/ 7 h 177"/>
                <a:gd name="T46" fmla="*/ 74 w 177"/>
                <a:gd name="T47" fmla="*/ 15 h 177"/>
                <a:gd name="T48" fmla="*/ 88 w 177"/>
                <a:gd name="T49" fmla="*/ 0 h 177"/>
                <a:gd name="T50" fmla="*/ 103 w 177"/>
                <a:gd name="T51" fmla="*/ 15 h 177"/>
                <a:gd name="T52" fmla="*/ 122 w 177"/>
                <a:gd name="T53" fmla="*/ 7 h 177"/>
                <a:gd name="T54" fmla="*/ 130 w 177"/>
                <a:gd name="T55" fmla="*/ 26 h 177"/>
                <a:gd name="T56" fmla="*/ 151 w 177"/>
                <a:gd name="T57" fmla="*/ 26 h 177"/>
                <a:gd name="T58" fmla="*/ 151 w 177"/>
                <a:gd name="T59" fmla="*/ 47 h 177"/>
                <a:gd name="T60" fmla="*/ 170 w 177"/>
                <a:gd name="T61" fmla="*/ 55 h 177"/>
                <a:gd name="T62" fmla="*/ 162 w 177"/>
                <a:gd name="T63" fmla="*/ 74 h 177"/>
                <a:gd name="T64" fmla="*/ 177 w 177"/>
                <a:gd name="T65" fmla="*/ 88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77" h="177">
                  <a:moveTo>
                    <a:pt x="177" y="88"/>
                  </a:moveTo>
                  <a:cubicBezTo>
                    <a:pt x="177" y="94"/>
                    <a:pt x="163" y="98"/>
                    <a:pt x="162" y="103"/>
                  </a:cubicBezTo>
                  <a:cubicBezTo>
                    <a:pt x="161" y="108"/>
                    <a:pt x="172" y="117"/>
                    <a:pt x="170" y="122"/>
                  </a:cubicBezTo>
                  <a:cubicBezTo>
                    <a:pt x="168" y="127"/>
                    <a:pt x="154" y="126"/>
                    <a:pt x="151" y="130"/>
                  </a:cubicBezTo>
                  <a:cubicBezTo>
                    <a:pt x="148" y="135"/>
                    <a:pt x="155" y="147"/>
                    <a:pt x="151" y="151"/>
                  </a:cubicBezTo>
                  <a:cubicBezTo>
                    <a:pt x="147" y="155"/>
                    <a:pt x="135" y="148"/>
                    <a:pt x="130" y="151"/>
                  </a:cubicBezTo>
                  <a:cubicBezTo>
                    <a:pt x="126" y="154"/>
                    <a:pt x="127" y="168"/>
                    <a:pt x="122" y="170"/>
                  </a:cubicBezTo>
                  <a:cubicBezTo>
                    <a:pt x="117" y="172"/>
                    <a:pt x="108" y="161"/>
                    <a:pt x="103" y="162"/>
                  </a:cubicBezTo>
                  <a:cubicBezTo>
                    <a:pt x="98" y="163"/>
                    <a:pt x="94" y="177"/>
                    <a:pt x="88" y="177"/>
                  </a:cubicBezTo>
                  <a:cubicBezTo>
                    <a:pt x="83" y="177"/>
                    <a:pt x="79" y="163"/>
                    <a:pt x="74" y="162"/>
                  </a:cubicBezTo>
                  <a:cubicBezTo>
                    <a:pt x="68" y="161"/>
                    <a:pt x="60" y="172"/>
                    <a:pt x="55" y="170"/>
                  </a:cubicBezTo>
                  <a:cubicBezTo>
                    <a:pt x="50" y="168"/>
                    <a:pt x="51" y="154"/>
                    <a:pt x="47" y="151"/>
                  </a:cubicBezTo>
                  <a:cubicBezTo>
                    <a:pt x="42" y="148"/>
                    <a:pt x="30" y="155"/>
                    <a:pt x="26" y="151"/>
                  </a:cubicBezTo>
                  <a:cubicBezTo>
                    <a:pt x="22" y="147"/>
                    <a:pt x="29" y="135"/>
                    <a:pt x="26" y="130"/>
                  </a:cubicBezTo>
                  <a:cubicBezTo>
                    <a:pt x="23" y="126"/>
                    <a:pt x="9" y="127"/>
                    <a:pt x="7" y="122"/>
                  </a:cubicBezTo>
                  <a:cubicBezTo>
                    <a:pt x="5" y="117"/>
                    <a:pt x="16" y="108"/>
                    <a:pt x="15" y="103"/>
                  </a:cubicBezTo>
                  <a:cubicBezTo>
                    <a:pt x="14" y="98"/>
                    <a:pt x="0" y="94"/>
                    <a:pt x="0" y="88"/>
                  </a:cubicBezTo>
                  <a:cubicBezTo>
                    <a:pt x="0" y="83"/>
                    <a:pt x="14" y="79"/>
                    <a:pt x="15" y="74"/>
                  </a:cubicBezTo>
                  <a:cubicBezTo>
                    <a:pt x="16" y="68"/>
                    <a:pt x="5" y="60"/>
                    <a:pt x="7" y="55"/>
                  </a:cubicBezTo>
                  <a:cubicBezTo>
                    <a:pt x="9" y="50"/>
                    <a:pt x="23" y="51"/>
                    <a:pt x="26" y="47"/>
                  </a:cubicBezTo>
                  <a:cubicBezTo>
                    <a:pt x="29" y="42"/>
                    <a:pt x="22" y="30"/>
                    <a:pt x="26" y="26"/>
                  </a:cubicBezTo>
                  <a:cubicBezTo>
                    <a:pt x="30" y="22"/>
                    <a:pt x="42" y="29"/>
                    <a:pt x="47" y="26"/>
                  </a:cubicBezTo>
                  <a:cubicBezTo>
                    <a:pt x="51" y="23"/>
                    <a:pt x="50" y="9"/>
                    <a:pt x="55" y="7"/>
                  </a:cubicBezTo>
                  <a:cubicBezTo>
                    <a:pt x="60" y="5"/>
                    <a:pt x="68" y="16"/>
                    <a:pt x="74" y="15"/>
                  </a:cubicBezTo>
                  <a:cubicBezTo>
                    <a:pt x="79" y="14"/>
                    <a:pt x="83" y="0"/>
                    <a:pt x="88" y="0"/>
                  </a:cubicBezTo>
                  <a:cubicBezTo>
                    <a:pt x="94" y="0"/>
                    <a:pt x="98" y="14"/>
                    <a:pt x="103" y="15"/>
                  </a:cubicBezTo>
                  <a:cubicBezTo>
                    <a:pt x="108" y="16"/>
                    <a:pt x="117" y="5"/>
                    <a:pt x="122" y="7"/>
                  </a:cubicBezTo>
                  <a:cubicBezTo>
                    <a:pt x="127" y="9"/>
                    <a:pt x="126" y="23"/>
                    <a:pt x="130" y="26"/>
                  </a:cubicBezTo>
                  <a:cubicBezTo>
                    <a:pt x="135" y="29"/>
                    <a:pt x="147" y="22"/>
                    <a:pt x="151" y="26"/>
                  </a:cubicBezTo>
                  <a:cubicBezTo>
                    <a:pt x="155" y="30"/>
                    <a:pt x="148" y="42"/>
                    <a:pt x="151" y="47"/>
                  </a:cubicBezTo>
                  <a:cubicBezTo>
                    <a:pt x="154" y="51"/>
                    <a:pt x="168" y="50"/>
                    <a:pt x="170" y="55"/>
                  </a:cubicBezTo>
                  <a:cubicBezTo>
                    <a:pt x="172" y="60"/>
                    <a:pt x="161" y="68"/>
                    <a:pt x="162" y="74"/>
                  </a:cubicBezTo>
                  <a:cubicBezTo>
                    <a:pt x="163" y="79"/>
                    <a:pt x="177" y="83"/>
                    <a:pt x="177" y="88"/>
                  </a:cubicBez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8" name="Freeform 62">
              <a:extLst>
                <a:ext uri="{FF2B5EF4-FFF2-40B4-BE49-F238E27FC236}">
                  <a16:creationId xmlns:a16="http://schemas.microsoft.com/office/drawing/2014/main" id="{762F4642-842E-490A-B5AC-2CA5FC845CA0}"/>
                </a:ext>
              </a:extLst>
            </p:cNvPr>
            <p:cNvSpPr>
              <a:spLocks/>
            </p:cNvSpPr>
            <p:nvPr/>
          </p:nvSpPr>
          <p:spPr bwMode="auto">
            <a:xfrm>
              <a:off x="9761538" y="639763"/>
              <a:ext cx="571500" cy="571500"/>
            </a:xfrm>
            <a:custGeom>
              <a:avLst/>
              <a:gdLst>
                <a:gd name="T0" fmla="*/ 151 w 151"/>
                <a:gd name="T1" fmla="*/ 26 h 151"/>
                <a:gd name="T2" fmla="*/ 130 w 151"/>
                <a:gd name="T3" fmla="*/ 26 h 151"/>
                <a:gd name="T4" fmla="*/ 122 w 151"/>
                <a:gd name="T5" fmla="*/ 7 h 151"/>
                <a:gd name="T6" fmla="*/ 103 w 151"/>
                <a:gd name="T7" fmla="*/ 15 h 151"/>
                <a:gd name="T8" fmla="*/ 88 w 151"/>
                <a:gd name="T9" fmla="*/ 0 h 151"/>
                <a:gd name="T10" fmla="*/ 74 w 151"/>
                <a:gd name="T11" fmla="*/ 15 h 151"/>
                <a:gd name="T12" fmla="*/ 55 w 151"/>
                <a:gd name="T13" fmla="*/ 7 h 151"/>
                <a:gd name="T14" fmla="*/ 47 w 151"/>
                <a:gd name="T15" fmla="*/ 26 h 151"/>
                <a:gd name="T16" fmla="*/ 26 w 151"/>
                <a:gd name="T17" fmla="*/ 26 h 151"/>
                <a:gd name="T18" fmla="*/ 26 w 151"/>
                <a:gd name="T19" fmla="*/ 47 h 151"/>
                <a:gd name="T20" fmla="*/ 7 w 151"/>
                <a:gd name="T21" fmla="*/ 55 h 151"/>
                <a:gd name="T22" fmla="*/ 15 w 151"/>
                <a:gd name="T23" fmla="*/ 74 h 151"/>
                <a:gd name="T24" fmla="*/ 0 w 151"/>
                <a:gd name="T25" fmla="*/ 88 h 151"/>
                <a:gd name="T26" fmla="*/ 15 w 151"/>
                <a:gd name="T27" fmla="*/ 103 h 151"/>
                <a:gd name="T28" fmla="*/ 7 w 151"/>
                <a:gd name="T29" fmla="*/ 122 h 151"/>
                <a:gd name="T30" fmla="*/ 26 w 151"/>
                <a:gd name="T31" fmla="*/ 130 h 151"/>
                <a:gd name="T32" fmla="*/ 26 w 151"/>
                <a:gd name="T33" fmla="*/ 151 h 151"/>
                <a:gd name="T34" fmla="*/ 26 w 151"/>
                <a:gd name="T35" fmla="*/ 151 h 151"/>
                <a:gd name="T36" fmla="*/ 151 w 151"/>
                <a:gd name="T37" fmla="*/ 26 h 151"/>
                <a:gd name="T38" fmla="*/ 151 w 151"/>
                <a:gd name="T39" fmla="*/ 26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51" h="151">
                  <a:moveTo>
                    <a:pt x="151" y="26"/>
                  </a:moveTo>
                  <a:cubicBezTo>
                    <a:pt x="147" y="22"/>
                    <a:pt x="135" y="29"/>
                    <a:pt x="130" y="26"/>
                  </a:cubicBezTo>
                  <a:cubicBezTo>
                    <a:pt x="126" y="23"/>
                    <a:pt x="127" y="9"/>
                    <a:pt x="122" y="7"/>
                  </a:cubicBezTo>
                  <a:cubicBezTo>
                    <a:pt x="117" y="5"/>
                    <a:pt x="108" y="16"/>
                    <a:pt x="103" y="15"/>
                  </a:cubicBezTo>
                  <a:cubicBezTo>
                    <a:pt x="98" y="14"/>
                    <a:pt x="94" y="0"/>
                    <a:pt x="88" y="0"/>
                  </a:cubicBezTo>
                  <a:cubicBezTo>
                    <a:pt x="83" y="0"/>
                    <a:pt x="79" y="14"/>
                    <a:pt x="74" y="15"/>
                  </a:cubicBezTo>
                  <a:cubicBezTo>
                    <a:pt x="68" y="16"/>
                    <a:pt x="60" y="5"/>
                    <a:pt x="55" y="7"/>
                  </a:cubicBezTo>
                  <a:cubicBezTo>
                    <a:pt x="50" y="9"/>
                    <a:pt x="51" y="23"/>
                    <a:pt x="47" y="26"/>
                  </a:cubicBezTo>
                  <a:cubicBezTo>
                    <a:pt x="42" y="29"/>
                    <a:pt x="30" y="22"/>
                    <a:pt x="26" y="26"/>
                  </a:cubicBezTo>
                  <a:cubicBezTo>
                    <a:pt x="22" y="30"/>
                    <a:pt x="29" y="42"/>
                    <a:pt x="26" y="47"/>
                  </a:cubicBezTo>
                  <a:cubicBezTo>
                    <a:pt x="23" y="51"/>
                    <a:pt x="9" y="50"/>
                    <a:pt x="7" y="55"/>
                  </a:cubicBezTo>
                  <a:cubicBezTo>
                    <a:pt x="5" y="60"/>
                    <a:pt x="16" y="68"/>
                    <a:pt x="15" y="74"/>
                  </a:cubicBezTo>
                  <a:cubicBezTo>
                    <a:pt x="14" y="79"/>
                    <a:pt x="0" y="83"/>
                    <a:pt x="0" y="88"/>
                  </a:cubicBezTo>
                  <a:cubicBezTo>
                    <a:pt x="0" y="94"/>
                    <a:pt x="14" y="98"/>
                    <a:pt x="15" y="103"/>
                  </a:cubicBezTo>
                  <a:cubicBezTo>
                    <a:pt x="16" y="108"/>
                    <a:pt x="5" y="117"/>
                    <a:pt x="7" y="122"/>
                  </a:cubicBezTo>
                  <a:cubicBezTo>
                    <a:pt x="9" y="127"/>
                    <a:pt x="23" y="126"/>
                    <a:pt x="26" y="130"/>
                  </a:cubicBezTo>
                  <a:cubicBezTo>
                    <a:pt x="29" y="135"/>
                    <a:pt x="22" y="147"/>
                    <a:pt x="26" y="151"/>
                  </a:cubicBezTo>
                  <a:cubicBezTo>
                    <a:pt x="26" y="151"/>
                    <a:pt x="26" y="151"/>
                    <a:pt x="26" y="151"/>
                  </a:cubicBezTo>
                  <a:cubicBezTo>
                    <a:pt x="151" y="26"/>
                    <a:pt x="151" y="26"/>
                    <a:pt x="151" y="26"/>
                  </a:cubicBezTo>
                  <a:cubicBezTo>
                    <a:pt x="151" y="26"/>
                    <a:pt x="151" y="26"/>
                    <a:pt x="151" y="26"/>
                  </a:cubicBezTo>
                  <a:close/>
                </a:path>
              </a:pathLst>
            </a:custGeom>
            <a:solidFill>
              <a:srgbClr val="FACB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" name="Oval 63">
              <a:extLst>
                <a:ext uri="{FF2B5EF4-FFF2-40B4-BE49-F238E27FC236}">
                  <a16:creationId xmlns:a16="http://schemas.microsoft.com/office/drawing/2014/main" id="{49AB7D65-7B56-4CE6-BBAD-1A05DFF7B0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71075" y="749301"/>
              <a:ext cx="450850" cy="450850"/>
            </a:xfrm>
            <a:prstGeom prst="ellipse">
              <a:avLst/>
            </a:prstGeom>
            <a:solidFill>
              <a:srgbClr val="FBE1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0" name="Freeform 64">
              <a:extLst>
                <a:ext uri="{FF2B5EF4-FFF2-40B4-BE49-F238E27FC236}">
                  <a16:creationId xmlns:a16="http://schemas.microsoft.com/office/drawing/2014/main" id="{8ADDD26B-7FC0-4E38-85FD-1A73963FFD81}"/>
                </a:ext>
              </a:extLst>
            </p:cNvPr>
            <p:cNvSpPr>
              <a:spLocks/>
            </p:cNvSpPr>
            <p:nvPr/>
          </p:nvSpPr>
          <p:spPr bwMode="auto">
            <a:xfrm>
              <a:off x="9871075" y="749301"/>
              <a:ext cx="382588" cy="385763"/>
            </a:xfrm>
            <a:custGeom>
              <a:avLst/>
              <a:gdLst>
                <a:gd name="T0" fmla="*/ 59 w 101"/>
                <a:gd name="T1" fmla="*/ 0 h 102"/>
                <a:gd name="T2" fmla="*/ 0 w 101"/>
                <a:gd name="T3" fmla="*/ 59 h 102"/>
                <a:gd name="T4" fmla="*/ 17 w 101"/>
                <a:gd name="T5" fmla="*/ 102 h 102"/>
                <a:gd name="T6" fmla="*/ 101 w 101"/>
                <a:gd name="T7" fmla="*/ 17 h 102"/>
                <a:gd name="T8" fmla="*/ 59 w 101"/>
                <a:gd name="T9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" h="102">
                  <a:moveTo>
                    <a:pt x="59" y="0"/>
                  </a:moveTo>
                  <a:cubicBezTo>
                    <a:pt x="26" y="0"/>
                    <a:pt x="0" y="27"/>
                    <a:pt x="0" y="59"/>
                  </a:cubicBezTo>
                  <a:cubicBezTo>
                    <a:pt x="0" y="76"/>
                    <a:pt x="6" y="91"/>
                    <a:pt x="17" y="102"/>
                  </a:cubicBezTo>
                  <a:cubicBezTo>
                    <a:pt x="101" y="17"/>
                    <a:pt x="101" y="17"/>
                    <a:pt x="101" y="17"/>
                  </a:cubicBezTo>
                  <a:cubicBezTo>
                    <a:pt x="91" y="6"/>
                    <a:pt x="76" y="0"/>
                    <a:pt x="59" y="0"/>
                  </a:cubicBezTo>
                  <a:close/>
                </a:path>
              </a:pathLst>
            </a:custGeom>
            <a:solidFill>
              <a:srgbClr val="FBEC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" name="Oval 65">
              <a:extLst>
                <a:ext uri="{FF2B5EF4-FFF2-40B4-BE49-F238E27FC236}">
                  <a16:creationId xmlns:a16="http://schemas.microsoft.com/office/drawing/2014/main" id="{2922103D-DC92-48C9-AC47-2B5425F5D9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947275" y="828676"/>
              <a:ext cx="295275" cy="29210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pic>
        <p:nvPicPr>
          <p:cNvPr id="2" name="Picture 1" descr="A red and blue text on a black background&#10;&#10;Description automatically generated">
            <a:extLst>
              <a:ext uri="{FF2B5EF4-FFF2-40B4-BE49-F238E27FC236}">
                <a16:creationId xmlns:a16="http://schemas.microsoft.com/office/drawing/2014/main" id="{9D202E82-51B0-3F55-FD00-5FE0B31BFD6B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671" b="30937"/>
          <a:stretch/>
        </p:blipFill>
        <p:spPr>
          <a:xfrm>
            <a:off x="102834" y="5816619"/>
            <a:ext cx="1760162" cy="658164"/>
          </a:xfrm>
          <a:prstGeom prst="rect">
            <a:avLst/>
          </a:prstGeom>
        </p:spPr>
      </p:pic>
      <p:pic>
        <p:nvPicPr>
          <p:cNvPr id="3" name="Picture 2" descr="A toy building set with a blue figure&#10;&#10;Description automatically generated with medium confidence">
            <a:extLst>
              <a:ext uri="{FF2B5EF4-FFF2-40B4-BE49-F238E27FC236}">
                <a16:creationId xmlns:a16="http://schemas.microsoft.com/office/drawing/2014/main" id="{EED7A3BA-CB4A-8CF5-ACB4-2DD844F222A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651" y="553335"/>
            <a:ext cx="5523503" cy="52371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65761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92EA3F-E74D-9727-EAF7-187EFC0971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group of colorful squares&#10;&#10;Description automatically generated">
            <a:extLst>
              <a:ext uri="{FF2B5EF4-FFF2-40B4-BE49-F238E27FC236}">
                <a16:creationId xmlns:a16="http://schemas.microsoft.com/office/drawing/2014/main" id="{E89756F7-BE7B-5B6D-38ED-8C58FE175B1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87" y="6156644"/>
            <a:ext cx="597947" cy="597947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47280E-9D1F-968D-C86A-E8C746F6037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3200" dirty="0"/>
              <a:t>Limited insight</a:t>
            </a:r>
          </a:p>
          <a:p>
            <a:r>
              <a:rPr lang="en-US" sz="3200" dirty="0"/>
              <a:t>Reducing functionality over time</a:t>
            </a:r>
          </a:p>
          <a:p>
            <a:r>
              <a:rPr lang="en-US" sz="3200" dirty="0"/>
              <a:t>No automation available for most logging functionality</a:t>
            </a:r>
          </a:p>
          <a:p>
            <a:r>
              <a:rPr lang="en-US" sz="3200" dirty="0"/>
              <a:t>Slow</a:t>
            </a:r>
          </a:p>
          <a:p>
            <a:endParaRPr lang="en-GB" sz="3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C7F2598-E2CA-12CC-1BA2-3F2DE4C749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50</a:t>
            </a:fld>
            <a:endParaRPr lang="en-US" dirty="0"/>
          </a:p>
        </p:txBody>
      </p:sp>
      <p:sp>
        <p:nvSpPr>
          <p:cNvPr id="16" name="Rectángulo redondeado 14">
            <a:extLst>
              <a:ext uri="{FF2B5EF4-FFF2-40B4-BE49-F238E27FC236}">
                <a16:creationId xmlns:a16="http://schemas.microsoft.com/office/drawing/2014/main" id="{9DE3A619-B2AD-CEAE-19A5-F49FB01E525A}"/>
              </a:ext>
            </a:extLst>
          </p:cNvPr>
          <p:cNvSpPr/>
          <p:nvPr/>
        </p:nvSpPr>
        <p:spPr>
          <a:xfrm>
            <a:off x="207123" y="215979"/>
            <a:ext cx="9444878" cy="1214125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ángulo 12">
            <a:extLst>
              <a:ext uri="{FF2B5EF4-FFF2-40B4-BE49-F238E27FC236}">
                <a16:creationId xmlns:a16="http://schemas.microsoft.com/office/drawing/2014/main" id="{B91C28EE-92D5-6705-2662-27DDA88BCB3E}"/>
              </a:ext>
            </a:extLst>
          </p:cNvPr>
          <p:cNvSpPr/>
          <p:nvPr/>
        </p:nvSpPr>
        <p:spPr>
          <a:xfrm>
            <a:off x="676534" y="396696"/>
            <a:ext cx="7415414" cy="769441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LCS</a:t>
            </a:r>
          </a:p>
        </p:txBody>
      </p:sp>
      <p:pic>
        <p:nvPicPr>
          <p:cNvPr id="2" name="Content Placeholder 11" descr="A logo with a black background">
            <a:extLst>
              <a:ext uri="{FF2B5EF4-FFF2-40B4-BE49-F238E27FC236}">
                <a16:creationId xmlns:a16="http://schemas.microsoft.com/office/drawing/2014/main" id="{DF6329F4-8C21-951A-B713-6BB3A5B5547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0916" y="-84227"/>
            <a:ext cx="3751522" cy="2110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7487947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094F79-AC60-3ADF-BA81-4C3A11E7BC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C801387-BDF3-CF7C-80D3-34877F77467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B5569DE-50C7-37EB-028B-85C4273BF6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51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3F5D231-94F3-AE2A-4841-B98E0BD6679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6701" y="365125"/>
            <a:ext cx="11557000" cy="57378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8534668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27ECE8A-290D-837F-4416-F94746092A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group of colorful squares&#10;&#10;Description automatically generated">
            <a:extLst>
              <a:ext uri="{FF2B5EF4-FFF2-40B4-BE49-F238E27FC236}">
                <a16:creationId xmlns:a16="http://schemas.microsoft.com/office/drawing/2014/main" id="{576F01D1-0B11-6743-9DD3-FE02D5B389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87" y="6156644"/>
            <a:ext cx="597947" cy="59794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25EFC29-B89A-F8C8-9D5F-5503A44AB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52</a:t>
            </a:fld>
            <a:endParaRPr lang="en-US" dirty="0"/>
          </a:p>
        </p:txBody>
      </p:sp>
      <p:sp>
        <p:nvSpPr>
          <p:cNvPr id="16" name="Rectángulo redondeado 14">
            <a:extLst>
              <a:ext uri="{FF2B5EF4-FFF2-40B4-BE49-F238E27FC236}">
                <a16:creationId xmlns:a16="http://schemas.microsoft.com/office/drawing/2014/main" id="{945B78DE-B82E-507E-D2D3-3BFDF1D15B07}"/>
              </a:ext>
            </a:extLst>
          </p:cNvPr>
          <p:cNvSpPr/>
          <p:nvPr/>
        </p:nvSpPr>
        <p:spPr>
          <a:xfrm>
            <a:off x="207123" y="215979"/>
            <a:ext cx="9444878" cy="1214125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ángulo 12">
            <a:extLst>
              <a:ext uri="{FF2B5EF4-FFF2-40B4-BE49-F238E27FC236}">
                <a16:creationId xmlns:a16="http://schemas.microsoft.com/office/drawing/2014/main" id="{58557809-525E-7B6E-DC26-8474C8D2B443}"/>
              </a:ext>
            </a:extLst>
          </p:cNvPr>
          <p:cNvSpPr/>
          <p:nvPr/>
        </p:nvSpPr>
        <p:spPr>
          <a:xfrm>
            <a:off x="676534" y="396696"/>
            <a:ext cx="7415414" cy="769441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r>
              <a:rPr lang="en-US" sz="4400" b="1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LCS</a:t>
            </a:r>
            <a:endParaRPr lang="en-US" sz="4400" b="1" dirty="0">
              <a:solidFill>
                <a:schemeClr val="bg1"/>
              </a:solidFill>
              <a:latin typeface="Segoe UI" panose="020B0502040204020203" pitchFamily="34" charset="0"/>
              <a:ea typeface="Source Sans Pro Black" panose="020B0803030403020204" pitchFamily="34" charset="0"/>
              <a:cs typeface="Segoe UI" panose="020B0502040204020203" pitchFamily="34" charset="0"/>
            </a:endParaRPr>
          </a:p>
        </p:txBody>
      </p:sp>
      <p:pic>
        <p:nvPicPr>
          <p:cNvPr id="2" name="Content Placeholder 11" descr="A logo with a black background">
            <a:extLst>
              <a:ext uri="{FF2B5EF4-FFF2-40B4-BE49-F238E27FC236}">
                <a16:creationId xmlns:a16="http://schemas.microsoft.com/office/drawing/2014/main" id="{0BC8B2D6-5F35-C0E0-C3DD-4D8FB8CC42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0916" y="-84227"/>
            <a:ext cx="3751522" cy="2110231"/>
          </a:xfrm>
          <a:prstGeom prst="rect">
            <a:avLst/>
          </a:prstGeom>
        </p:spPr>
      </p:pic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593E5397-970B-589A-749C-58DB923186F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4"/>
          <a:stretch>
            <a:fillRect/>
          </a:stretch>
        </p:blipFill>
        <p:spPr>
          <a:xfrm>
            <a:off x="4386803" y="1595150"/>
            <a:ext cx="2127250" cy="5126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4337492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0DD4684-F841-62A0-546E-26EFBF15ED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group of colorful squares&#10;&#10;Description automatically generated">
            <a:extLst>
              <a:ext uri="{FF2B5EF4-FFF2-40B4-BE49-F238E27FC236}">
                <a16:creationId xmlns:a16="http://schemas.microsoft.com/office/drawing/2014/main" id="{0440D71E-D730-7873-2EBA-D48307981FA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87" y="6156644"/>
            <a:ext cx="597947" cy="597947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B86D61-BD19-5ED3-13DC-25A8CF2B894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3200" dirty="0"/>
              <a:t>Use Cleanup Batch jobs</a:t>
            </a:r>
          </a:p>
          <a:p>
            <a:r>
              <a:rPr lang="en-US" sz="3200" dirty="0"/>
              <a:t>Go to module &gt; expand all &gt; search for “Cleanup” or “clean”</a:t>
            </a:r>
          </a:p>
          <a:p>
            <a:r>
              <a:rPr lang="en-US" sz="3200" dirty="0"/>
              <a:t>Also check out Process Automation</a:t>
            </a:r>
          </a:p>
          <a:p>
            <a:pPr lvl="1"/>
            <a:r>
              <a:rPr lang="en-US" sz="2800" dirty="0"/>
              <a:t>Similar to Batch Jobs</a:t>
            </a:r>
          </a:p>
          <a:p>
            <a:pPr lvl="1"/>
            <a:r>
              <a:rPr lang="en-US" sz="2800" dirty="0"/>
              <a:t>Auto register and schedule based on code rules</a:t>
            </a:r>
          </a:p>
          <a:p>
            <a:endParaRPr lang="en-GB" sz="3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E484C1-5376-2B20-9C0A-2EE7C9C791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53</a:t>
            </a:fld>
            <a:endParaRPr lang="en-US" dirty="0"/>
          </a:p>
        </p:txBody>
      </p:sp>
      <p:sp>
        <p:nvSpPr>
          <p:cNvPr id="16" name="Rectángulo redondeado 14">
            <a:extLst>
              <a:ext uri="{FF2B5EF4-FFF2-40B4-BE49-F238E27FC236}">
                <a16:creationId xmlns:a16="http://schemas.microsoft.com/office/drawing/2014/main" id="{9F251BF6-DE90-75AA-270F-59599A3FB56F}"/>
              </a:ext>
            </a:extLst>
          </p:cNvPr>
          <p:cNvSpPr/>
          <p:nvPr/>
        </p:nvSpPr>
        <p:spPr>
          <a:xfrm>
            <a:off x="207123" y="215979"/>
            <a:ext cx="9444878" cy="1214125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ángulo 12">
            <a:extLst>
              <a:ext uri="{FF2B5EF4-FFF2-40B4-BE49-F238E27FC236}">
                <a16:creationId xmlns:a16="http://schemas.microsoft.com/office/drawing/2014/main" id="{2FD231B0-5F8E-AA9C-BB69-19060FB33114}"/>
              </a:ext>
            </a:extLst>
          </p:cNvPr>
          <p:cNvSpPr/>
          <p:nvPr/>
        </p:nvSpPr>
        <p:spPr>
          <a:xfrm>
            <a:off x="676534" y="396696"/>
            <a:ext cx="7415414" cy="769441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Tweak</a:t>
            </a:r>
          </a:p>
        </p:txBody>
      </p:sp>
      <p:pic>
        <p:nvPicPr>
          <p:cNvPr id="2" name="Content Placeholder 11" descr="A logo with a black background">
            <a:extLst>
              <a:ext uri="{FF2B5EF4-FFF2-40B4-BE49-F238E27FC236}">
                <a16:creationId xmlns:a16="http://schemas.microsoft.com/office/drawing/2014/main" id="{E4679429-55DC-43A2-4514-CE088AA4D17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0916" y="-84227"/>
            <a:ext cx="3751522" cy="2110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6141737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D4DAAF-DF8E-9EBB-C240-8CFBACED33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E91AC8F8-A949-A5D5-B684-55BF272A5D0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402431"/>
            <a:ext cx="12192000" cy="60531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8321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1C9010-FCB5-02D5-3F7C-BE7C30F2FE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32B77884-D495-9354-2E04-BD897A6F1BF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8709665" y="-8484681"/>
            <a:ext cx="30901666" cy="15342196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4A2E6DD0-A053-0262-B997-99001C2509C4}"/>
              </a:ext>
            </a:extLst>
          </p:cNvPr>
          <p:cNvSpPr/>
          <p:nvPr/>
        </p:nvSpPr>
        <p:spPr bwMode="auto">
          <a:xfrm>
            <a:off x="4245568" y="1327694"/>
            <a:ext cx="3884508" cy="3989090"/>
          </a:xfrm>
          <a:prstGeom prst="rect">
            <a:avLst/>
          </a:prstGeom>
          <a:noFill/>
          <a:ln w="38100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894407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2E5878-E907-FA2A-5185-E5B1FCEF40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group of colorful squares&#10;&#10;Description automatically generated">
            <a:extLst>
              <a:ext uri="{FF2B5EF4-FFF2-40B4-BE49-F238E27FC236}">
                <a16:creationId xmlns:a16="http://schemas.microsoft.com/office/drawing/2014/main" id="{1F162C7E-71D3-7D5F-CE82-7AF63A52121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87" y="6156644"/>
            <a:ext cx="597947" cy="597947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809A13E-11EF-7DB5-6A87-5893D52FA2D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Use Set operations rather than row operators when you can</a:t>
            </a:r>
          </a:p>
          <a:p>
            <a:r>
              <a:rPr lang="en-GB" dirty="0"/>
              <a:t>Understand the constructs used for data manipulations</a:t>
            </a:r>
          </a:p>
          <a:p>
            <a:r>
              <a:rPr lang="en-GB" dirty="0"/>
              <a:t>Use Trace Parser to get detailed log data on performance issues</a:t>
            </a:r>
          </a:p>
          <a:p>
            <a:r>
              <a:rPr lang="en-GB" dirty="0"/>
              <a:t>Identify database or code ( or both ) issues using tools like LCS and Trace Parser</a:t>
            </a:r>
          </a:p>
          <a:p>
            <a:r>
              <a:rPr lang="en-GB" dirty="0"/>
              <a:t>Use Telemetry to monito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153879B-39E8-3DDA-D937-39C9A55A61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56</a:t>
            </a:fld>
            <a:endParaRPr lang="en-US" dirty="0"/>
          </a:p>
        </p:txBody>
      </p:sp>
      <p:sp>
        <p:nvSpPr>
          <p:cNvPr id="16" name="Rectángulo redondeado 14">
            <a:extLst>
              <a:ext uri="{FF2B5EF4-FFF2-40B4-BE49-F238E27FC236}">
                <a16:creationId xmlns:a16="http://schemas.microsoft.com/office/drawing/2014/main" id="{2F0FC28F-5B8D-7187-CC44-F9E098616178}"/>
              </a:ext>
            </a:extLst>
          </p:cNvPr>
          <p:cNvSpPr/>
          <p:nvPr/>
        </p:nvSpPr>
        <p:spPr>
          <a:xfrm>
            <a:off x="207123" y="215979"/>
            <a:ext cx="9444878" cy="1214125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ángulo 12">
            <a:extLst>
              <a:ext uri="{FF2B5EF4-FFF2-40B4-BE49-F238E27FC236}">
                <a16:creationId xmlns:a16="http://schemas.microsoft.com/office/drawing/2014/main" id="{12BCC309-91E9-8145-7C4F-BCFA6BEAC641}"/>
              </a:ext>
            </a:extLst>
          </p:cNvPr>
          <p:cNvSpPr/>
          <p:nvPr/>
        </p:nvSpPr>
        <p:spPr>
          <a:xfrm>
            <a:off x="676534" y="396696"/>
            <a:ext cx="7415414" cy="769441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Summary</a:t>
            </a:r>
          </a:p>
        </p:txBody>
      </p:sp>
      <p:pic>
        <p:nvPicPr>
          <p:cNvPr id="2" name="Content Placeholder 11" descr="A logo with a black background">
            <a:extLst>
              <a:ext uri="{FF2B5EF4-FFF2-40B4-BE49-F238E27FC236}">
                <a16:creationId xmlns:a16="http://schemas.microsoft.com/office/drawing/2014/main" id="{E3538D07-422A-8D5C-1609-76E4D0A9FD2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0916" y="-84227"/>
            <a:ext cx="3751522" cy="2110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8291355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0BEABE0-85DB-EE48-2DCE-23FE7FA7106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group of colorful squares&#10;&#10;Description automatically generated">
            <a:extLst>
              <a:ext uri="{FF2B5EF4-FFF2-40B4-BE49-F238E27FC236}">
                <a16:creationId xmlns:a16="http://schemas.microsoft.com/office/drawing/2014/main" id="{23CA43CC-141D-BAEF-5CAF-DC679345A2D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87" y="6156644"/>
            <a:ext cx="597947" cy="597947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DA5DEB5-0E93-D5E7-E080-A941A42E224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GB" dirty="0">
                <a:hlinkClick r:id="rId3"/>
              </a:rPr>
              <a:t>https://community.dynamics.com/blogs/post/?postid=77bd7a1b-5cc7-4947-a724-109d41d113b3</a:t>
            </a:r>
            <a:endParaRPr lang="en-GB" dirty="0"/>
          </a:p>
          <a:p>
            <a:r>
              <a:rPr lang="en-GB" dirty="0">
                <a:hlinkClick r:id="rId4"/>
              </a:rPr>
              <a:t>https://community.dynamics.com/blogs/post/?postid=fc6c120d-b134-47ef-9651-b4deb7d3560c</a:t>
            </a:r>
            <a:endParaRPr lang="en-GB" dirty="0"/>
          </a:p>
          <a:p>
            <a:r>
              <a:rPr lang="en-GB" dirty="0">
                <a:hlinkClick r:id="rId5"/>
              </a:rPr>
              <a:t>https://ariste.info/2021/06/socratex-application-checker/</a:t>
            </a:r>
            <a:endParaRPr lang="en-GB" dirty="0"/>
          </a:p>
          <a:p>
            <a:r>
              <a:rPr lang="en-GB" dirty="0"/>
              <a:t>https://community.dynamics.com/blogs/post/?postid=b8014884-9aa3-4fdb-8e2a-b3440d01a79a</a:t>
            </a:r>
          </a:p>
          <a:p>
            <a:r>
              <a:rPr lang="en-GB" dirty="0"/>
              <a:t>https://alexdmeyer.com/2023/10/03/using-telemetry-data-for-read-auditing-in-d365fo/</a:t>
            </a:r>
          </a:p>
          <a:p>
            <a:r>
              <a:rPr lang="en-GB" dirty="0"/>
              <a:t>https://github.com/microsoft/Dynamics-365-FastTrack-FSCM-Telemetry-Sampl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3D7FF29-1C43-EA00-2B97-FF2C86234D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57</a:t>
            </a:fld>
            <a:endParaRPr lang="en-US" dirty="0"/>
          </a:p>
        </p:txBody>
      </p:sp>
      <p:sp>
        <p:nvSpPr>
          <p:cNvPr id="16" name="Rectángulo redondeado 14">
            <a:extLst>
              <a:ext uri="{FF2B5EF4-FFF2-40B4-BE49-F238E27FC236}">
                <a16:creationId xmlns:a16="http://schemas.microsoft.com/office/drawing/2014/main" id="{3931AFBC-D9A4-52F8-D268-C021E56858AB}"/>
              </a:ext>
            </a:extLst>
          </p:cNvPr>
          <p:cNvSpPr/>
          <p:nvPr/>
        </p:nvSpPr>
        <p:spPr>
          <a:xfrm>
            <a:off x="207123" y="215979"/>
            <a:ext cx="9444878" cy="1214125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ángulo 12">
            <a:extLst>
              <a:ext uri="{FF2B5EF4-FFF2-40B4-BE49-F238E27FC236}">
                <a16:creationId xmlns:a16="http://schemas.microsoft.com/office/drawing/2014/main" id="{667E7F51-E94E-3BCF-0F6C-20C20D337894}"/>
              </a:ext>
            </a:extLst>
          </p:cNvPr>
          <p:cNvSpPr/>
          <p:nvPr/>
        </p:nvSpPr>
        <p:spPr>
          <a:xfrm>
            <a:off x="676534" y="396696"/>
            <a:ext cx="7415414" cy="769441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References</a:t>
            </a:r>
          </a:p>
        </p:txBody>
      </p:sp>
      <p:pic>
        <p:nvPicPr>
          <p:cNvPr id="2" name="Content Placeholder 11" descr="A logo with a black background">
            <a:extLst>
              <a:ext uri="{FF2B5EF4-FFF2-40B4-BE49-F238E27FC236}">
                <a16:creationId xmlns:a16="http://schemas.microsoft.com/office/drawing/2014/main" id="{3F5ADF8C-1BFB-E3D4-39D1-7B7D0314832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0916" y="-84227"/>
            <a:ext cx="3751522" cy="2110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7221082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E61D0D-10D5-DD48-DA5A-04D999B00F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group of colorful squares&#10;&#10;Description automatically generated">
            <a:extLst>
              <a:ext uri="{FF2B5EF4-FFF2-40B4-BE49-F238E27FC236}">
                <a16:creationId xmlns:a16="http://schemas.microsoft.com/office/drawing/2014/main" id="{2005A70F-861C-8B4C-BB16-B2182DD8D5F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87" y="6156644"/>
            <a:ext cx="597947" cy="597947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BBF6FA8-4CF3-2572-E08F-B982E73EDEA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>
                <a:hlinkClick r:id="rId3"/>
              </a:rPr>
              <a:t>https://www.atomicax.com/article/does-specifying-columns-select-statements-matter</a:t>
            </a:r>
            <a:endParaRPr lang="en-GB" dirty="0"/>
          </a:p>
          <a:p>
            <a:r>
              <a:rPr lang="en-GB" dirty="0">
                <a:hlinkClick r:id="rId4"/>
              </a:rPr>
              <a:t>https://www.atomicax.com/article/database-inserts-and-performance</a:t>
            </a:r>
            <a:endParaRPr lang="en-GB" dirty="0"/>
          </a:p>
          <a:p>
            <a:r>
              <a:rPr lang="en-GB" dirty="0">
                <a:hlinkClick r:id="rId5"/>
              </a:rPr>
              <a:t>https://www.atomicax.com/content/odata-experiment-deep-dive-odata-and-how-use-it</a:t>
            </a:r>
            <a:endParaRPr lang="en-GB" dirty="0"/>
          </a:p>
          <a:p>
            <a:r>
              <a:rPr lang="en-GB" dirty="0">
                <a:hlinkClick r:id="rId6"/>
              </a:rPr>
              <a:t>https://www.atomicax.com/article/when-create-runbasebatch-batch-job</a:t>
            </a:r>
            <a:endParaRPr lang="en-GB" dirty="0"/>
          </a:p>
          <a:p>
            <a:r>
              <a:rPr lang="en-GB" dirty="0">
                <a:hlinkClick r:id="rId7"/>
              </a:rPr>
              <a:t>https://www.atomicax.com/article/when-create-individual-task-modelled-batch-job</a:t>
            </a:r>
            <a:endParaRPr lang="en-GB" dirty="0"/>
          </a:p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8BF89D0-580C-044E-A068-81296EAE07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58</a:t>
            </a:fld>
            <a:endParaRPr lang="en-US" dirty="0"/>
          </a:p>
        </p:txBody>
      </p:sp>
      <p:sp>
        <p:nvSpPr>
          <p:cNvPr id="16" name="Rectángulo redondeado 14">
            <a:extLst>
              <a:ext uri="{FF2B5EF4-FFF2-40B4-BE49-F238E27FC236}">
                <a16:creationId xmlns:a16="http://schemas.microsoft.com/office/drawing/2014/main" id="{B123705B-7A17-FD23-4B7F-DC03FAD6069B}"/>
              </a:ext>
            </a:extLst>
          </p:cNvPr>
          <p:cNvSpPr/>
          <p:nvPr/>
        </p:nvSpPr>
        <p:spPr>
          <a:xfrm>
            <a:off x="207123" y="215979"/>
            <a:ext cx="9444878" cy="1214125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ángulo 12">
            <a:extLst>
              <a:ext uri="{FF2B5EF4-FFF2-40B4-BE49-F238E27FC236}">
                <a16:creationId xmlns:a16="http://schemas.microsoft.com/office/drawing/2014/main" id="{9563C938-B9EB-34C6-0F1B-CE7A1034295D}"/>
              </a:ext>
            </a:extLst>
          </p:cNvPr>
          <p:cNvSpPr/>
          <p:nvPr/>
        </p:nvSpPr>
        <p:spPr>
          <a:xfrm>
            <a:off x="676534" y="396696"/>
            <a:ext cx="7415414" cy="769441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References</a:t>
            </a:r>
          </a:p>
        </p:txBody>
      </p:sp>
      <p:pic>
        <p:nvPicPr>
          <p:cNvPr id="2" name="Content Placeholder 11" descr="A logo with a black background">
            <a:extLst>
              <a:ext uri="{FF2B5EF4-FFF2-40B4-BE49-F238E27FC236}">
                <a16:creationId xmlns:a16="http://schemas.microsoft.com/office/drawing/2014/main" id="{AF4C51FB-1752-D67C-8C60-1F96882DFD7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0916" y="-84227"/>
            <a:ext cx="3751522" cy="2110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8808348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ángulo 6175">
            <a:extLst>
              <a:ext uri="{FF2B5EF4-FFF2-40B4-BE49-F238E27FC236}">
                <a16:creationId xmlns:a16="http://schemas.microsoft.com/office/drawing/2014/main" id="{8BB652F3-E70C-41B2-B1D6-C632507D4D77}"/>
              </a:ext>
            </a:extLst>
          </p:cNvPr>
          <p:cNvSpPr/>
          <p:nvPr/>
        </p:nvSpPr>
        <p:spPr>
          <a:xfrm>
            <a:off x="0" y="-17273"/>
            <a:ext cx="12214702" cy="3442643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 descr="A white machine made of legos&#10;&#10;Description automatically generated">
            <a:extLst>
              <a:ext uri="{FF2B5EF4-FFF2-40B4-BE49-F238E27FC236}">
                <a16:creationId xmlns:a16="http://schemas.microsoft.com/office/drawing/2014/main" id="{015C3AFA-190E-0DCE-C174-6195E6DEE98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514" y="7604"/>
            <a:ext cx="12192000" cy="6858000"/>
          </a:xfrm>
          <a:prstGeom prst="rect">
            <a:avLst/>
          </a:prstGeom>
        </p:spPr>
      </p:pic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9E073D2-D02C-4602-90E7-2FBE431ADCA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9E073D2-D02C-4602-90E7-2FBE431ADC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ángulo redondeado 14">
            <a:extLst>
              <a:ext uri="{FF2B5EF4-FFF2-40B4-BE49-F238E27FC236}">
                <a16:creationId xmlns:a16="http://schemas.microsoft.com/office/drawing/2014/main" id="{C7143A2C-3F85-47CD-9E2B-97A348E51562}"/>
              </a:ext>
            </a:extLst>
          </p:cNvPr>
          <p:cNvSpPr/>
          <p:nvPr/>
        </p:nvSpPr>
        <p:spPr>
          <a:xfrm>
            <a:off x="834055" y="471948"/>
            <a:ext cx="10523889" cy="5032596"/>
          </a:xfrm>
          <a:prstGeom prst="roundRect">
            <a:avLst>
              <a:gd name="adj" fmla="val 2826"/>
            </a:avLst>
          </a:prstGeom>
          <a:solidFill>
            <a:schemeClr val="bg1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ángulo redondeado 14">
            <a:extLst>
              <a:ext uri="{FF2B5EF4-FFF2-40B4-BE49-F238E27FC236}">
                <a16:creationId xmlns:a16="http://schemas.microsoft.com/office/drawing/2014/main" id="{69FEE036-62FB-4E7F-8B1D-B1654A4735D8}"/>
              </a:ext>
            </a:extLst>
          </p:cNvPr>
          <p:cNvSpPr/>
          <p:nvPr/>
        </p:nvSpPr>
        <p:spPr>
          <a:xfrm>
            <a:off x="6460791" y="792843"/>
            <a:ext cx="4572268" cy="4385889"/>
          </a:xfrm>
          <a:prstGeom prst="roundRect">
            <a:avLst>
              <a:gd name="adj" fmla="val 2826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856144E1-FF2D-4715-8657-21CDEE3ECD1E}"/>
              </a:ext>
            </a:extLst>
          </p:cNvPr>
          <p:cNvCxnSpPr>
            <a:cxnSpLocks/>
          </p:cNvCxnSpPr>
          <p:nvPr/>
        </p:nvCxnSpPr>
        <p:spPr>
          <a:xfrm>
            <a:off x="6487094" y="2187087"/>
            <a:ext cx="43434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ángulo redondeado 14">
            <a:extLst>
              <a:ext uri="{FF2B5EF4-FFF2-40B4-BE49-F238E27FC236}">
                <a16:creationId xmlns:a16="http://schemas.microsoft.com/office/drawing/2014/main" id="{9565BB47-835A-4FD4-B946-9DD07A6DBC9E}"/>
              </a:ext>
            </a:extLst>
          </p:cNvPr>
          <p:cNvSpPr/>
          <p:nvPr/>
        </p:nvSpPr>
        <p:spPr>
          <a:xfrm>
            <a:off x="6016819" y="4935544"/>
            <a:ext cx="5919542" cy="1760223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ángulo 12">
            <a:extLst>
              <a:ext uri="{FF2B5EF4-FFF2-40B4-BE49-F238E27FC236}">
                <a16:creationId xmlns:a16="http://schemas.microsoft.com/office/drawing/2014/main" id="{77DA9832-58B0-4DB8-8B68-08B4705894D6}"/>
              </a:ext>
            </a:extLst>
          </p:cNvPr>
          <p:cNvSpPr/>
          <p:nvPr/>
        </p:nvSpPr>
        <p:spPr>
          <a:xfrm>
            <a:off x="6940568" y="2187087"/>
            <a:ext cx="3723417" cy="2554545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pPr algn="ctr"/>
            <a:r>
              <a:rPr lang="en-US" sz="8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Source Sans Pro Semibold" panose="020B0603030403020204" pitchFamily="34" charset="0"/>
                <a:cs typeface="Segoe UI" panose="020B0502040204020203" pitchFamily="34" charset="0"/>
              </a:rPr>
              <a:t>THANK</a:t>
            </a:r>
            <a:endParaRPr lang="en-US" sz="7200" b="1" dirty="0">
              <a:solidFill>
                <a:schemeClr val="tx1">
                  <a:lumMod val="95000"/>
                  <a:lumOff val="5000"/>
                </a:schemeClr>
              </a:solidFill>
              <a:latin typeface="Segoe UI" panose="020B0502040204020203" pitchFamily="34" charset="0"/>
              <a:ea typeface="Source Sans Pro Semibold" panose="020B0603030403020204" pitchFamily="34" charset="0"/>
              <a:cs typeface="Segoe UI" panose="020B0502040204020203" pitchFamily="34" charset="0"/>
            </a:endParaRPr>
          </a:p>
          <a:p>
            <a:pPr algn="ctr"/>
            <a:r>
              <a:rPr lang="en-US" sz="8000" b="1" dirty="0">
                <a:solidFill>
                  <a:srgbClr val="D01012"/>
                </a:solidFill>
                <a:latin typeface="Segoe UI" panose="020B0502040204020203" pitchFamily="34" charset="0"/>
                <a:ea typeface="Source Sans Pro Semibold" panose="020B0603030403020204" pitchFamily="34" charset="0"/>
                <a:cs typeface="Segoe UI" panose="020B0502040204020203" pitchFamily="34" charset="0"/>
              </a:rPr>
              <a:t>YOU! </a:t>
            </a:r>
            <a:endParaRPr lang="en-US" sz="8000" b="1" dirty="0">
              <a:solidFill>
                <a:srgbClr val="D01012"/>
              </a:solidFill>
              <a:latin typeface="Segoe UI" panose="020B0502040204020203" pitchFamily="34" charset="0"/>
              <a:ea typeface="Source Sans Pro Black" panose="020B0803030403020204" pitchFamily="34" charset="0"/>
              <a:cs typeface="Segoe UI" panose="020B0502040204020203" pitchFamily="34" charset="0"/>
            </a:endParaRPr>
          </a:p>
        </p:txBody>
      </p:sp>
      <p:pic>
        <p:nvPicPr>
          <p:cNvPr id="18" name="Picture 17" descr="A close-up of a company logo&#10;&#10;Description automatically generated">
            <a:extLst>
              <a:ext uri="{FF2B5EF4-FFF2-40B4-BE49-F238E27FC236}">
                <a16:creationId xmlns:a16="http://schemas.microsoft.com/office/drawing/2014/main" id="{073A11CE-1D2F-2B7C-E5AB-6084361BE97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7444" y="4044845"/>
            <a:ext cx="2729907" cy="971107"/>
          </a:xfrm>
          <a:prstGeom prst="rect">
            <a:avLst/>
          </a:prstGeom>
        </p:spPr>
      </p:pic>
      <p:pic>
        <p:nvPicPr>
          <p:cNvPr id="27" name="Picture 26" descr="A white toy with black stripes and a white helmet&#10;&#10;Description automatically generated with medium confidence">
            <a:extLst>
              <a:ext uri="{FF2B5EF4-FFF2-40B4-BE49-F238E27FC236}">
                <a16:creationId xmlns:a16="http://schemas.microsoft.com/office/drawing/2014/main" id="{99709725-3800-BF14-FAE5-104B984A25B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5785" y="3655810"/>
            <a:ext cx="1464638" cy="3443696"/>
          </a:xfrm>
          <a:prstGeom prst="rect">
            <a:avLst/>
          </a:prstGeom>
        </p:spPr>
      </p:pic>
      <p:pic>
        <p:nvPicPr>
          <p:cNvPr id="29" name="Picture 28" descr="A group of colorful squares&#10;&#10;Description automatically generated">
            <a:extLst>
              <a:ext uri="{FF2B5EF4-FFF2-40B4-BE49-F238E27FC236}">
                <a16:creationId xmlns:a16="http://schemas.microsoft.com/office/drawing/2014/main" id="{41F330A1-262B-4171-30E6-559F660A3C1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6045" y="1235989"/>
            <a:ext cx="591736" cy="591736"/>
          </a:xfrm>
          <a:prstGeom prst="rect">
            <a:avLst/>
          </a:prstGeom>
        </p:spPr>
      </p:pic>
      <p:sp>
        <p:nvSpPr>
          <p:cNvPr id="34" name="Rectángulo 12">
            <a:extLst>
              <a:ext uri="{FF2B5EF4-FFF2-40B4-BE49-F238E27FC236}">
                <a16:creationId xmlns:a16="http://schemas.microsoft.com/office/drawing/2014/main" id="{0D3B918B-34A0-D351-D0FC-C18F18F619F2}"/>
              </a:ext>
            </a:extLst>
          </p:cNvPr>
          <p:cNvSpPr/>
          <p:nvPr/>
        </p:nvSpPr>
        <p:spPr>
          <a:xfrm>
            <a:off x="6887988" y="1074467"/>
            <a:ext cx="4338014" cy="830997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pPr algn="ctr"/>
            <a:r>
              <a:rPr lang="en-US" sz="4800" b="1" dirty="0">
                <a:solidFill>
                  <a:schemeClr val="bg1">
                    <a:lumMod val="65000"/>
                  </a:schemeClr>
                </a:solidFill>
                <a:latin typeface="Segoe UI" panose="020B0502040204020203" pitchFamily="34" charset="0"/>
                <a:ea typeface="Source Sans Pro Semibold" panose="020B0603030403020204" pitchFamily="34" charset="0"/>
                <a:cs typeface="Segoe UI" panose="020B0502040204020203" pitchFamily="34" charset="0"/>
              </a:rPr>
              <a:t>Sponsors </a:t>
            </a:r>
            <a:endParaRPr lang="en-US" sz="4800" b="1" dirty="0">
              <a:solidFill>
                <a:schemeClr val="bg1">
                  <a:lumMod val="65000"/>
                </a:schemeClr>
              </a:solidFill>
              <a:latin typeface="Segoe UI" panose="020B0502040204020203" pitchFamily="34" charset="0"/>
              <a:ea typeface="Source Sans Pro Black" panose="020B0803030403020204" pitchFamily="34" charset="0"/>
              <a:cs typeface="Segoe UI" panose="020B0502040204020203" pitchFamily="34" charset="0"/>
            </a:endParaRPr>
          </a:p>
        </p:txBody>
      </p:sp>
      <p:sp>
        <p:nvSpPr>
          <p:cNvPr id="4" name="Rectángulo redondeado 14">
            <a:extLst>
              <a:ext uri="{FF2B5EF4-FFF2-40B4-BE49-F238E27FC236}">
                <a16:creationId xmlns:a16="http://schemas.microsoft.com/office/drawing/2014/main" id="{BCAE964C-8DC6-45B7-51CB-BB702A95891F}"/>
              </a:ext>
            </a:extLst>
          </p:cNvPr>
          <p:cNvSpPr/>
          <p:nvPr/>
        </p:nvSpPr>
        <p:spPr>
          <a:xfrm>
            <a:off x="6175182" y="5046302"/>
            <a:ext cx="5592534" cy="1503143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5" name="Picture 4" descr="A logo on a black background&#10;&#10;Description automatically generated">
            <a:extLst>
              <a:ext uri="{FF2B5EF4-FFF2-40B4-BE49-F238E27FC236}">
                <a16:creationId xmlns:a16="http://schemas.microsoft.com/office/drawing/2014/main" id="{673E9516-2ADD-9E26-06F4-93ECCF203030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8854" t="27574" r="8854" b="36443"/>
          <a:stretch/>
        </p:blipFill>
        <p:spPr>
          <a:xfrm>
            <a:off x="6175182" y="5039844"/>
            <a:ext cx="5069888" cy="1490492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80497A61-4D2D-AD3B-B13D-F748A743A8D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1133" y="5201332"/>
            <a:ext cx="878993" cy="878993"/>
          </a:xfrm>
          <a:prstGeom prst="rect">
            <a:avLst/>
          </a:prstGeom>
        </p:spPr>
      </p:pic>
      <p:pic>
        <p:nvPicPr>
          <p:cNvPr id="1028" name="Picture 4" descr="Image result for staedean logo">
            <a:extLst>
              <a:ext uri="{FF2B5EF4-FFF2-40B4-BE49-F238E27FC236}">
                <a16:creationId xmlns:a16="http://schemas.microsoft.com/office/drawing/2014/main" id="{50A495A7-B376-2ABD-8E79-41C5B2BFA6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2708" y="2441242"/>
            <a:ext cx="4203195" cy="13479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0" name="Picture 2" descr="Unsere Partner | sensatus GmbH">
            <a:extLst>
              <a:ext uri="{FF2B5EF4-FFF2-40B4-BE49-F238E27FC236}">
                <a16:creationId xmlns:a16="http://schemas.microsoft.com/office/drawing/2014/main" id="{3F767317-20A8-8296-699C-0DA70107B2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42742" y="630710"/>
            <a:ext cx="3819898" cy="19945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 descr="A logo with blue and white text&#10;&#10;Description automatically generated">
            <a:extLst>
              <a:ext uri="{FF2B5EF4-FFF2-40B4-BE49-F238E27FC236}">
                <a16:creationId xmlns:a16="http://schemas.microsoft.com/office/drawing/2014/main" id="{90A63E32-F5C1-6CE2-D6CB-8C6741C5DA98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1047" y="3421170"/>
            <a:ext cx="2008372" cy="1850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27765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group of colorful squares&#10;&#10;Description automatically generated">
            <a:extLst>
              <a:ext uri="{FF2B5EF4-FFF2-40B4-BE49-F238E27FC236}">
                <a16:creationId xmlns:a16="http://schemas.microsoft.com/office/drawing/2014/main" id="{76211445-598A-3D65-B13F-C77C48DD25E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87" y="6156644"/>
            <a:ext cx="597947" cy="59794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B00F02-28BF-CF4E-60A0-B60985FC6B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16" name="Rectángulo redondeado 14">
            <a:extLst>
              <a:ext uri="{FF2B5EF4-FFF2-40B4-BE49-F238E27FC236}">
                <a16:creationId xmlns:a16="http://schemas.microsoft.com/office/drawing/2014/main" id="{D726C135-4F9E-3469-FEDF-3180B1451DAF}"/>
              </a:ext>
            </a:extLst>
          </p:cNvPr>
          <p:cNvSpPr/>
          <p:nvPr/>
        </p:nvSpPr>
        <p:spPr>
          <a:xfrm>
            <a:off x="207123" y="215979"/>
            <a:ext cx="9444878" cy="1214125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ángulo 12">
            <a:extLst>
              <a:ext uri="{FF2B5EF4-FFF2-40B4-BE49-F238E27FC236}">
                <a16:creationId xmlns:a16="http://schemas.microsoft.com/office/drawing/2014/main" id="{10A6EFB4-EB70-F5E7-71F2-602F7ADFAED0}"/>
              </a:ext>
            </a:extLst>
          </p:cNvPr>
          <p:cNvSpPr/>
          <p:nvPr/>
        </p:nvSpPr>
        <p:spPr>
          <a:xfrm>
            <a:off x="676534" y="396696"/>
            <a:ext cx="7415414" cy="769441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Architecture</a:t>
            </a:r>
          </a:p>
        </p:txBody>
      </p:sp>
      <p:pic>
        <p:nvPicPr>
          <p:cNvPr id="2" name="Content Placeholder 11" descr="A logo with a black background">
            <a:extLst>
              <a:ext uri="{FF2B5EF4-FFF2-40B4-BE49-F238E27FC236}">
                <a16:creationId xmlns:a16="http://schemas.microsoft.com/office/drawing/2014/main" id="{C09EFF51-1906-C283-4466-221D3BC405A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0916" y="-84227"/>
            <a:ext cx="3751522" cy="2110231"/>
          </a:xfrm>
          <a:prstGeom prst="rect">
            <a:avLst/>
          </a:prstGeom>
        </p:spPr>
      </p:pic>
      <p:pic>
        <p:nvPicPr>
          <p:cNvPr id="1026" name="Picture 2" descr="Dynamics 365 Finance and operations - Architecture | Pradeep Loganathan's  Blog">
            <a:extLst>
              <a:ext uri="{FF2B5EF4-FFF2-40B4-BE49-F238E27FC236}">
                <a16:creationId xmlns:a16="http://schemas.microsoft.com/office/drawing/2014/main" id="{F9F037E4-D08C-EEB0-A590-5BD37B28BA36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5700" y="1479986"/>
            <a:ext cx="6984999" cy="5313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9003326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53C6294-418F-2FF8-2B41-DA9E679C25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group of colorful squares&#10;&#10;Description automatically generated">
            <a:extLst>
              <a:ext uri="{FF2B5EF4-FFF2-40B4-BE49-F238E27FC236}">
                <a16:creationId xmlns:a16="http://schemas.microsoft.com/office/drawing/2014/main" id="{B2D023F6-4929-CF54-DAAC-0EBA9D188BA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87" y="6156644"/>
            <a:ext cx="597947" cy="597947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C6314F6-F76E-3AA6-DF55-C1F944E7757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Poor Indexing</a:t>
            </a:r>
          </a:p>
          <a:p>
            <a:r>
              <a:rPr lang="en-GB" dirty="0"/>
              <a:t>Poor Loop architectures</a:t>
            </a:r>
          </a:p>
          <a:p>
            <a:r>
              <a:rPr lang="en-GB" dirty="0"/>
              <a:t>Not using Batch processing</a:t>
            </a:r>
          </a:p>
          <a:p>
            <a:r>
              <a:rPr lang="en-GB" dirty="0"/>
              <a:t>Not using indexes</a:t>
            </a:r>
          </a:p>
          <a:p>
            <a:r>
              <a:rPr lang="en-GB" dirty="0"/>
              <a:t>Not creating indexes</a:t>
            </a:r>
          </a:p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C55DE61-5559-9B5E-9177-5F31978598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16" name="Rectángulo redondeado 14">
            <a:extLst>
              <a:ext uri="{FF2B5EF4-FFF2-40B4-BE49-F238E27FC236}">
                <a16:creationId xmlns:a16="http://schemas.microsoft.com/office/drawing/2014/main" id="{395F4852-B622-7BB3-BC82-9E7CFC356486}"/>
              </a:ext>
            </a:extLst>
          </p:cNvPr>
          <p:cNvSpPr/>
          <p:nvPr/>
        </p:nvSpPr>
        <p:spPr>
          <a:xfrm>
            <a:off x="207123" y="215979"/>
            <a:ext cx="9444878" cy="1214125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ángulo 12">
            <a:extLst>
              <a:ext uri="{FF2B5EF4-FFF2-40B4-BE49-F238E27FC236}">
                <a16:creationId xmlns:a16="http://schemas.microsoft.com/office/drawing/2014/main" id="{C7D8440F-6F32-0456-61AA-787D74022BA5}"/>
              </a:ext>
            </a:extLst>
          </p:cNvPr>
          <p:cNvSpPr/>
          <p:nvPr/>
        </p:nvSpPr>
        <p:spPr>
          <a:xfrm>
            <a:off x="676534" y="396696"/>
            <a:ext cx="7415414" cy="769441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Common Problems</a:t>
            </a:r>
          </a:p>
        </p:txBody>
      </p:sp>
      <p:pic>
        <p:nvPicPr>
          <p:cNvPr id="2" name="Content Placeholder 11" descr="A logo with a black background">
            <a:extLst>
              <a:ext uri="{FF2B5EF4-FFF2-40B4-BE49-F238E27FC236}">
                <a16:creationId xmlns:a16="http://schemas.microsoft.com/office/drawing/2014/main" id="{6AE07B6B-D886-7D15-7537-D43F87E4AB1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0916" y="-84227"/>
            <a:ext cx="3751522" cy="2110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364604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CDED092-1EB4-FE4C-62AB-6AF0914235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group of colorful squares&#10;&#10;Description automatically generated">
            <a:extLst>
              <a:ext uri="{FF2B5EF4-FFF2-40B4-BE49-F238E27FC236}">
                <a16:creationId xmlns:a16="http://schemas.microsoft.com/office/drawing/2014/main" id="{6D3E78A1-B6BA-C213-73CD-A8A511F1EB9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87" y="6156644"/>
            <a:ext cx="597947" cy="597947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90F6552-97AA-BD1F-9B38-A5F5E6F8DA1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ymptoms of performance degradation</a:t>
            </a:r>
          </a:p>
          <a:p>
            <a:pPr lvl="1"/>
            <a:r>
              <a:rPr lang="en-US" dirty="0"/>
              <a:t>“Its slow”</a:t>
            </a:r>
          </a:p>
          <a:p>
            <a:pPr lvl="1"/>
            <a:r>
              <a:rPr lang="en-US" dirty="0"/>
              <a:t>Where? When? In what legal entity? For which process?</a:t>
            </a:r>
          </a:p>
          <a:p>
            <a:pPr lvl="1"/>
            <a:r>
              <a:rPr lang="en-US" dirty="0"/>
              <a:t>Collect a trace for the process plus a recording to repro</a:t>
            </a:r>
          </a:p>
          <a:p>
            <a:r>
              <a:rPr lang="en-US" dirty="0"/>
              <a:t>Differentiating between code-level and database-level issues</a:t>
            </a:r>
          </a:p>
          <a:p>
            <a:pPr lvl="1"/>
            <a:r>
              <a:rPr lang="en-US" dirty="0"/>
              <a:t>Is opening a form slow?</a:t>
            </a:r>
          </a:p>
          <a:p>
            <a:pPr lvl="1"/>
            <a:r>
              <a:rPr lang="en-US" dirty="0"/>
              <a:t>Or is clicking on a specific button taking a long time?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07AFE99-7D2E-799E-5BC5-D3F4B5C2C8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16" name="Rectángulo redondeado 14">
            <a:extLst>
              <a:ext uri="{FF2B5EF4-FFF2-40B4-BE49-F238E27FC236}">
                <a16:creationId xmlns:a16="http://schemas.microsoft.com/office/drawing/2014/main" id="{CDDA0170-7041-2165-4993-11391E2D05B9}"/>
              </a:ext>
            </a:extLst>
          </p:cNvPr>
          <p:cNvSpPr/>
          <p:nvPr/>
        </p:nvSpPr>
        <p:spPr>
          <a:xfrm>
            <a:off x="207123" y="215979"/>
            <a:ext cx="9444878" cy="1214125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ángulo 12">
            <a:extLst>
              <a:ext uri="{FF2B5EF4-FFF2-40B4-BE49-F238E27FC236}">
                <a16:creationId xmlns:a16="http://schemas.microsoft.com/office/drawing/2014/main" id="{E8833A3F-EBA7-AC03-1563-8449230DC99A}"/>
              </a:ext>
            </a:extLst>
          </p:cNvPr>
          <p:cNvSpPr/>
          <p:nvPr/>
        </p:nvSpPr>
        <p:spPr>
          <a:xfrm>
            <a:off x="676534" y="396696"/>
            <a:ext cx="8657966" cy="769441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Identifying Common Problems</a:t>
            </a:r>
          </a:p>
        </p:txBody>
      </p:sp>
      <p:pic>
        <p:nvPicPr>
          <p:cNvPr id="2" name="Content Placeholder 11" descr="A logo with a black background">
            <a:extLst>
              <a:ext uri="{FF2B5EF4-FFF2-40B4-BE49-F238E27FC236}">
                <a16:creationId xmlns:a16="http://schemas.microsoft.com/office/drawing/2014/main" id="{DCAC77BB-88B7-6A9A-3920-26ED129F776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0916" y="-84227"/>
            <a:ext cx="3751522" cy="2110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140354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D7FAF70-A515-9E0B-6C7B-C4935648E0B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group of colorful squares&#10;&#10;Description automatically generated">
            <a:extLst>
              <a:ext uri="{FF2B5EF4-FFF2-40B4-BE49-F238E27FC236}">
                <a16:creationId xmlns:a16="http://schemas.microsoft.com/office/drawing/2014/main" id="{8B18CE37-A4D6-1992-7317-D16B3837F7E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87" y="6156644"/>
            <a:ext cx="597947" cy="597947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67676D-C524-2219-325F-E59D9CF6E24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dirty="0"/>
              <a:t>for(int </a:t>
            </a:r>
            <a:r>
              <a:rPr lang="en-GB" dirty="0" err="1"/>
              <a:t>i</a:t>
            </a:r>
            <a:r>
              <a:rPr lang="en-GB" dirty="0"/>
              <a:t> = 0; </a:t>
            </a:r>
            <a:r>
              <a:rPr lang="en-GB" dirty="0" err="1"/>
              <a:t>i</a:t>
            </a:r>
            <a:r>
              <a:rPr lang="en-GB" dirty="0"/>
              <a:t> &lt;= </a:t>
            </a:r>
            <a:r>
              <a:rPr lang="en-GB" dirty="0" err="1"/>
              <a:t>this.parmRecordCount</a:t>
            </a:r>
            <a:r>
              <a:rPr lang="en-GB" dirty="0"/>
              <a:t>(); </a:t>
            </a:r>
            <a:r>
              <a:rPr lang="en-GB" dirty="0" err="1"/>
              <a:t>i</a:t>
            </a:r>
            <a:r>
              <a:rPr lang="en-GB" dirty="0"/>
              <a:t>++)</a:t>
            </a:r>
          </a:p>
          <a:p>
            <a:pPr marL="0" indent="0">
              <a:buNone/>
            </a:pPr>
            <a:r>
              <a:rPr lang="en-GB" dirty="0"/>
              <a:t>{</a:t>
            </a:r>
          </a:p>
          <a:p>
            <a:pPr marL="0" indent="0">
              <a:buNone/>
            </a:pPr>
            <a:r>
              <a:rPr lang="en-GB" dirty="0"/>
              <a:t>    </a:t>
            </a:r>
            <a:r>
              <a:rPr lang="en-GB" dirty="0" err="1"/>
              <a:t>ttsbegin</a:t>
            </a:r>
            <a:r>
              <a:rPr lang="en-GB" dirty="0"/>
              <a:t>;</a:t>
            </a:r>
          </a:p>
          <a:p>
            <a:pPr marL="0" indent="0">
              <a:buNone/>
            </a:pPr>
            <a:r>
              <a:rPr lang="en-GB" dirty="0"/>
              <a:t>    </a:t>
            </a:r>
            <a:r>
              <a:rPr lang="en-GB" dirty="0" err="1"/>
              <a:t>SalesPool.SalesPoolId</a:t>
            </a:r>
            <a:r>
              <a:rPr lang="en-GB" dirty="0"/>
              <a:t> = int2Str(</a:t>
            </a:r>
            <a:r>
              <a:rPr lang="en-GB" dirty="0" err="1"/>
              <a:t>i</a:t>
            </a:r>
            <a:r>
              <a:rPr lang="en-GB" dirty="0"/>
              <a:t>);</a:t>
            </a:r>
          </a:p>
          <a:p>
            <a:pPr marL="0" indent="0">
              <a:buNone/>
            </a:pPr>
            <a:r>
              <a:rPr lang="en-GB" dirty="0"/>
              <a:t>    </a:t>
            </a:r>
            <a:r>
              <a:rPr lang="en-GB" dirty="0" err="1"/>
              <a:t>SalesPool.Name</a:t>
            </a:r>
            <a:r>
              <a:rPr lang="en-GB" dirty="0"/>
              <a:t> = int2Str(</a:t>
            </a:r>
            <a:r>
              <a:rPr lang="en-GB" dirty="0" err="1"/>
              <a:t>i</a:t>
            </a:r>
            <a:r>
              <a:rPr lang="en-GB" dirty="0"/>
              <a:t>);</a:t>
            </a:r>
          </a:p>
          <a:p>
            <a:pPr marL="0" indent="0">
              <a:buNone/>
            </a:pPr>
            <a:r>
              <a:rPr lang="en-GB" dirty="0"/>
              <a:t>    </a:t>
            </a:r>
            <a:r>
              <a:rPr lang="en-GB" dirty="0" err="1"/>
              <a:t>SalesPool.insert</a:t>
            </a:r>
            <a:r>
              <a:rPr lang="en-GB" dirty="0"/>
              <a:t>();</a:t>
            </a:r>
          </a:p>
          <a:p>
            <a:pPr marL="0" indent="0">
              <a:buNone/>
            </a:pPr>
            <a:r>
              <a:rPr lang="en-GB" dirty="0"/>
              <a:t>    </a:t>
            </a:r>
            <a:r>
              <a:rPr lang="en-GB" dirty="0" err="1"/>
              <a:t>ttscommit</a:t>
            </a:r>
            <a:r>
              <a:rPr lang="en-GB" dirty="0"/>
              <a:t>;</a:t>
            </a:r>
          </a:p>
          <a:p>
            <a:pPr marL="0" indent="0">
              <a:buNone/>
            </a:pPr>
            <a:r>
              <a:rPr lang="en-GB" dirty="0"/>
              <a:t>}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F16835-3F1C-12E7-6312-68542854DD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16" name="Rectángulo redondeado 14">
            <a:extLst>
              <a:ext uri="{FF2B5EF4-FFF2-40B4-BE49-F238E27FC236}">
                <a16:creationId xmlns:a16="http://schemas.microsoft.com/office/drawing/2014/main" id="{48D12EB3-442C-B485-8143-665757080E6B}"/>
              </a:ext>
            </a:extLst>
          </p:cNvPr>
          <p:cNvSpPr/>
          <p:nvPr/>
        </p:nvSpPr>
        <p:spPr>
          <a:xfrm>
            <a:off x="207123" y="215979"/>
            <a:ext cx="9444878" cy="1214125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ángulo 12">
            <a:extLst>
              <a:ext uri="{FF2B5EF4-FFF2-40B4-BE49-F238E27FC236}">
                <a16:creationId xmlns:a16="http://schemas.microsoft.com/office/drawing/2014/main" id="{3B5B9009-4E59-938D-54D5-5B68F7AD027C}"/>
              </a:ext>
            </a:extLst>
          </p:cNvPr>
          <p:cNvSpPr/>
          <p:nvPr/>
        </p:nvSpPr>
        <p:spPr>
          <a:xfrm>
            <a:off x="676534" y="396696"/>
            <a:ext cx="7415414" cy="769441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Code – Bad Pattern - Insert</a:t>
            </a:r>
          </a:p>
        </p:txBody>
      </p:sp>
      <p:pic>
        <p:nvPicPr>
          <p:cNvPr id="2" name="Content Placeholder 11" descr="A logo with a black background">
            <a:extLst>
              <a:ext uri="{FF2B5EF4-FFF2-40B4-BE49-F238E27FC236}">
                <a16:creationId xmlns:a16="http://schemas.microsoft.com/office/drawing/2014/main" id="{5CE81493-62CC-52E2-A171-1D73B044E71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0916" y="-84227"/>
            <a:ext cx="3751522" cy="2110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89518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Uq_0bGD5mMVlqliRQcP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gUDTVFP9DJhd2ENdLY6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Egy2WGaKMRMxuq9KCAg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7c6ff6d1-2922-47d8-b6fa-c8d34b4b7313">
      <Terms xmlns="http://schemas.microsoft.com/office/infopath/2007/PartnerControls"/>
    </lcf76f155ced4ddcb4097134ff3c332f>
    <TaxCatchAll xmlns="e97ea265-253c-4c9e-a829-f800a9daf82c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B34F0751EEA7645893147F402627FF6" ma:contentTypeVersion="10" ma:contentTypeDescription="Create a new document." ma:contentTypeScope="" ma:versionID="c77e29ec9ffdf5f0caeba9e2a7366451">
  <xsd:schema xmlns:xsd="http://www.w3.org/2001/XMLSchema" xmlns:xs="http://www.w3.org/2001/XMLSchema" xmlns:p="http://schemas.microsoft.com/office/2006/metadata/properties" xmlns:ns2="7c6ff6d1-2922-47d8-b6fa-c8d34b4b7313" xmlns:ns3="e97ea265-253c-4c9e-a829-f800a9daf82c" targetNamespace="http://schemas.microsoft.com/office/2006/metadata/properties" ma:root="true" ma:fieldsID="1c7bb476b8aa590d941cf098a1aad0d6" ns2:_="" ns3:_="">
    <xsd:import namespace="7c6ff6d1-2922-47d8-b6fa-c8d34b4b7313"/>
    <xsd:import namespace="e97ea265-253c-4c9e-a829-f800a9daf82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c6ff6d1-2922-47d8-b6fa-c8d34b4b731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6" nillable="true" ma:taxonomy="true" ma:internalName="lcf76f155ced4ddcb4097134ff3c332f" ma:taxonomyFieldName="MediaServiceImageTags" ma:displayName="Image Tags" ma:readOnly="false" ma:fieldId="{5cf76f15-5ced-4ddc-b409-7134ff3c332f}" ma:taxonomyMulti="true" ma:sspId="f3fc197d-f5e7-4c43-938a-9929e935775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97ea265-253c-4c9e-a829-f800a9daf82c" elementFormDefault="qualified">
    <xsd:import namespace="http://schemas.microsoft.com/office/2006/documentManagement/types"/>
    <xsd:import namespace="http://schemas.microsoft.com/office/infopath/2007/PartnerControls"/>
    <xsd:element name="TaxCatchAll" ma:index="17" nillable="true" ma:displayName="Taxonomy Catch All Column" ma:hidden="true" ma:list="{f229c998-4471-48b8-875b-89fe6ad0d552}" ma:internalName="TaxCatchAll" ma:showField="CatchAllData" ma:web="e97ea265-253c-4c9e-a829-f800a9daf82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D2D7910-5D8E-498A-94C4-4E9E3CF44F5C}">
  <ds:schemaRefs>
    <ds:schemaRef ds:uri="http://schemas.microsoft.com/office/2006/metadata/properties"/>
    <ds:schemaRef ds:uri="http://schemas.microsoft.com/office/infopath/2007/PartnerControls"/>
    <ds:schemaRef ds:uri="7c6ff6d1-2922-47d8-b6fa-c8d34b4b7313"/>
    <ds:schemaRef ds:uri="e97ea265-253c-4c9e-a829-f800a9daf82c"/>
  </ds:schemaRefs>
</ds:datastoreItem>
</file>

<file path=customXml/itemProps2.xml><?xml version="1.0" encoding="utf-8"?>
<ds:datastoreItem xmlns:ds="http://schemas.openxmlformats.org/officeDocument/2006/customXml" ds:itemID="{77FA9A3B-6F32-446F-AE25-152FBD7174B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FE30230-10AC-40FE-8AFE-543FFF5C471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c6ff6d1-2922-47d8-b6fa-c8d34b4b7313"/>
    <ds:schemaRef ds:uri="e97ea265-253c-4c9e-a829-f800a9daf82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6673</TotalTime>
  <Words>1754</Words>
  <Application>Microsoft Office PowerPoint</Application>
  <PresentationFormat>Widescreen</PresentationFormat>
  <Paragraphs>381</Paragraphs>
  <Slides>59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9</vt:i4>
      </vt:variant>
    </vt:vector>
  </HeadingPairs>
  <TitlesOfParts>
    <vt:vector size="67" baseType="lpstr">
      <vt:lpstr>Arial</vt:lpstr>
      <vt:lpstr>Calibri</vt:lpstr>
      <vt:lpstr>Calibri Light</vt:lpstr>
      <vt:lpstr>Poppins</vt:lpstr>
      <vt:lpstr>Segoe UI</vt:lpstr>
      <vt:lpstr>segoe ui black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erformanc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ower Community; Raz Dynamics</dc:creator>
  <cp:lastModifiedBy>Nathan Clouse</cp:lastModifiedBy>
  <cp:revision>135</cp:revision>
  <dcterms:created xsi:type="dcterms:W3CDTF">2020-10-26T06:25:39Z</dcterms:created>
  <dcterms:modified xsi:type="dcterms:W3CDTF">2025-02-26T21:42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B34F0751EEA7645893147F402627FF6</vt:lpwstr>
  </property>
  <property fmtid="{D5CDD505-2E9C-101B-9397-08002B2CF9AE}" pid="3" name="MediaServiceImageTags">
    <vt:lpwstr/>
  </property>
</Properties>
</file>